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6.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7.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2" r:id="rId2"/>
    <p:sldMasterId id="2147483664" r:id="rId3"/>
    <p:sldMasterId id="2147483665" r:id="rId4"/>
    <p:sldMasterId id="2147483677" r:id="rId5"/>
    <p:sldMasterId id="2147483682" r:id="rId6"/>
    <p:sldMasterId id="2147483696" r:id="rId7"/>
    <p:sldMasterId id="2147483708" r:id="rId8"/>
  </p:sldMasterIdLst>
  <p:notesMasterIdLst>
    <p:notesMasterId r:id="rId35"/>
  </p:notesMasterIdLst>
  <p:sldIdLst>
    <p:sldId id="8717" r:id="rId9"/>
    <p:sldId id="8718" r:id="rId10"/>
    <p:sldId id="8738" r:id="rId11"/>
    <p:sldId id="384" r:id="rId12"/>
    <p:sldId id="8739" r:id="rId13"/>
    <p:sldId id="8740" r:id="rId14"/>
    <p:sldId id="8741" r:id="rId15"/>
    <p:sldId id="8725" r:id="rId16"/>
    <p:sldId id="8734" r:id="rId17"/>
    <p:sldId id="8736" r:id="rId18"/>
    <p:sldId id="8726" r:id="rId19"/>
    <p:sldId id="8727" r:id="rId20"/>
    <p:sldId id="8728" r:id="rId21"/>
    <p:sldId id="8729" r:id="rId22"/>
    <p:sldId id="8730" r:id="rId23"/>
    <p:sldId id="8731" r:id="rId24"/>
    <p:sldId id="8732" r:id="rId25"/>
    <p:sldId id="8733" r:id="rId26"/>
    <p:sldId id="8719" r:id="rId27"/>
    <p:sldId id="3232" r:id="rId28"/>
    <p:sldId id="8721" r:id="rId29"/>
    <p:sldId id="8722" r:id="rId30"/>
    <p:sldId id="8723" r:id="rId31"/>
    <p:sldId id="8724" r:id="rId32"/>
    <p:sldId id="8742" r:id="rId33"/>
    <p:sldId id="8720" r:id="rId3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开头" id="{7A54B0E6-9DEE-4168-A63C-10412269E3B4}">
          <p14:sldIdLst>
            <p14:sldId id="8717"/>
            <p14:sldId id="8718"/>
            <p14:sldId id="8738"/>
            <p14:sldId id="384"/>
            <p14:sldId id="8739"/>
            <p14:sldId id="8740"/>
            <p14:sldId id="8741"/>
            <p14:sldId id="8725"/>
            <p14:sldId id="8734"/>
            <p14:sldId id="8736"/>
            <p14:sldId id="8726"/>
            <p14:sldId id="8727"/>
            <p14:sldId id="8728"/>
            <p14:sldId id="8729"/>
            <p14:sldId id="8730"/>
            <p14:sldId id="8731"/>
            <p14:sldId id="8732"/>
            <p14:sldId id="8733"/>
            <p14:sldId id="8719"/>
            <p14:sldId id="3232"/>
            <p14:sldId id="8721"/>
            <p14:sldId id="8722"/>
            <p14:sldId id="8723"/>
            <p14:sldId id="8724"/>
            <p14:sldId id="8742"/>
            <p14:sldId id="8720"/>
          </p14:sldIdLst>
        </p14:section>
      </p14:sectionLst>
    </p:ext>
    <p:ext uri="{EFAFB233-063F-42B5-8137-9DF3F51BA10A}">
      <p15:sldGuideLst xmlns:p15="http://schemas.microsoft.com/office/powerpoint/2012/main">
        <p15:guide id="1" orient="horz" pos="822">
          <p15:clr>
            <a:srgbClr val="A4A3A4"/>
          </p15:clr>
        </p15:guide>
        <p15:guide id="2" pos="3840">
          <p15:clr>
            <a:srgbClr val="A4A3A4"/>
          </p15:clr>
        </p15:guide>
        <p15:guide id="3" orient="horz" pos="22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42B60"/>
    <a:srgbClr val="7F2F69"/>
    <a:srgbClr val="580C6E"/>
    <a:srgbClr val="882959"/>
    <a:srgbClr val="B7B7B7"/>
    <a:srgbClr val="660874"/>
    <a:srgbClr val="7038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61" autoAdjust="0"/>
    <p:restoredTop sz="94660"/>
  </p:normalViewPr>
  <p:slideViewPr>
    <p:cSldViewPr snapToGrid="0" showGuides="1">
      <p:cViewPr varScale="1">
        <p:scale>
          <a:sx n="81" d="100"/>
          <a:sy n="81" d="100"/>
        </p:scale>
        <p:origin x="734" y="58"/>
      </p:cViewPr>
      <p:guideLst>
        <p:guide orient="horz" pos="822"/>
        <p:guide pos="3840"/>
        <p:guide orient="horz" pos="2260"/>
      </p:guideLst>
    </p:cSldViewPr>
  </p:slideViewPr>
  <p:notesTextViewPr>
    <p:cViewPr>
      <p:scale>
        <a:sx n="1" d="1"/>
        <a:sy n="1" d="1"/>
      </p:scale>
      <p:origin x="0" y="0"/>
    </p:cViewPr>
  </p:notesTextViewPr>
  <p:sorterViewPr>
    <p:cViewPr>
      <p:scale>
        <a:sx n="60" d="100"/>
        <a:sy n="6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ableStyles" Target="tableStyles.xml"/><Relationship Id="rId21" Type="http://schemas.openxmlformats.org/officeDocument/2006/relationships/slide" Target="slides/slide13.xml"/><Relationship Id="rId34" Type="http://schemas.openxmlformats.org/officeDocument/2006/relationships/slide" Target="slides/slide26.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notesMaster" Target="notesMasters/notesMaster1.xml"/><Relationship Id="rId8" Type="http://schemas.openxmlformats.org/officeDocument/2006/relationships/slideMaster" Target="slideMasters/slideMaster8.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18.wmf"/><Relationship Id="rId1" Type="http://schemas.openxmlformats.org/officeDocument/2006/relationships/image" Target="../media/image17.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C0F95B-A574-4407-94FF-B32474249F17}" type="datetimeFigureOut">
              <a:rPr lang="zh-CN" altLang="en-US" smtClean="0"/>
              <a:t>2024/6/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5540DF-3E34-4DB8-9761-D0AD0DBB6A54}"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95540DF-3E34-4DB8-9761-D0AD0DBB6A54}" type="slidenum">
              <a:rPr lang="zh-CN" altLang="en-US" smtClean="0"/>
              <a:t>4</a:t>
            </a:fld>
            <a:endParaRPr lang="zh-CN" altLang="en-US"/>
          </a:p>
        </p:txBody>
      </p:sp>
    </p:spTree>
    <p:extLst>
      <p:ext uri="{BB962C8B-B14F-4D97-AF65-F5344CB8AC3E}">
        <p14:creationId xmlns:p14="http://schemas.microsoft.com/office/powerpoint/2010/main" val="29841726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无刷</a:t>
            </a:r>
            <a:r>
              <a:rPr lang="en-US" altLang="zh-CN" dirty="0"/>
              <a:t>+</a:t>
            </a:r>
            <a:r>
              <a:rPr lang="zh-CN" altLang="en-US"/>
              <a:t>磁编码器</a:t>
            </a:r>
          </a:p>
        </p:txBody>
      </p:sp>
      <p:sp>
        <p:nvSpPr>
          <p:cNvPr id="4" name="灯片编号占位符 3"/>
          <p:cNvSpPr>
            <a:spLocks noGrp="1"/>
          </p:cNvSpPr>
          <p:nvPr>
            <p:ph type="sldNum" sz="quarter" idx="5"/>
          </p:nvPr>
        </p:nvSpPr>
        <p:spPr/>
        <p:txBody>
          <a:bodyPr/>
          <a:lstStyle/>
          <a:p>
            <a:fld id="{395540DF-3E34-4DB8-9761-D0AD0DBB6A54}" type="slidenum">
              <a:rPr lang="zh-CN" altLang="en-US" smtClean="0"/>
              <a:t>23</a:t>
            </a:fld>
            <a:endParaRPr lang="zh-CN" altLang="en-US"/>
          </a:p>
        </p:txBody>
      </p:sp>
    </p:spTree>
    <p:extLst>
      <p:ext uri="{BB962C8B-B14F-4D97-AF65-F5344CB8AC3E}">
        <p14:creationId xmlns:p14="http://schemas.microsoft.com/office/powerpoint/2010/main" val="21076480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05F45C49-25F1-4F0F-B1A6-369FF2111CE5}" type="datetime1">
              <a:rPr lang="zh-CN" altLang="en-US" smtClean="0"/>
              <a:t>2024/6/7</a:t>
            </a:fld>
            <a:endParaRPr lang="zh-CN" altLang="en-US"/>
          </a:p>
        </p:txBody>
      </p:sp>
      <p:sp>
        <p:nvSpPr>
          <p:cNvPr id="5" name="页脚占位符 4"/>
          <p:cNvSpPr>
            <a:spLocks noGrp="1"/>
          </p:cNvSpPr>
          <p:nvPr>
            <p:ph type="ftr" sz="quarter" idx="11"/>
          </p:nvPr>
        </p:nvSpPr>
        <p:spPr/>
        <p:txBody>
          <a:bodyPr/>
          <a:lstStyle/>
          <a:p>
            <a:r>
              <a:rPr lang="en-US" altLang="zh-CN"/>
              <a:t>1</a:t>
            </a:r>
            <a:endParaRPr lang="zh-CN" altLang="en-US"/>
          </a:p>
        </p:txBody>
      </p:sp>
      <p:sp>
        <p:nvSpPr>
          <p:cNvPr id="6" name="灯片编号占位符 5"/>
          <p:cNvSpPr>
            <a:spLocks noGrp="1"/>
          </p:cNvSpPr>
          <p:nvPr>
            <p:ph type="sldNum" sz="quarter" idx="12"/>
          </p:nvPr>
        </p:nvSpPr>
        <p:spPr/>
        <p:txBody>
          <a:bodyPr/>
          <a:lstStyle/>
          <a:p>
            <a:fld id="{718929A7-BED7-489C-BC02-D20B9FB58884}"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96DB1099-8167-4D4D-85A5-65AEEA659759}" type="datetime1">
              <a:rPr lang="zh-CN" altLang="en-US" smtClean="0"/>
              <a:t>2024/6/7</a:t>
            </a:fld>
            <a:endParaRPr lang="zh-CN" altLang="en-US"/>
          </a:p>
        </p:txBody>
      </p:sp>
      <p:sp>
        <p:nvSpPr>
          <p:cNvPr id="5" name="页脚占位符 4"/>
          <p:cNvSpPr>
            <a:spLocks noGrp="1"/>
          </p:cNvSpPr>
          <p:nvPr>
            <p:ph type="ftr" sz="quarter" idx="11"/>
          </p:nvPr>
        </p:nvSpPr>
        <p:spPr/>
        <p:txBody>
          <a:bodyPr/>
          <a:lstStyle/>
          <a:p>
            <a:r>
              <a:rPr lang="en-US" altLang="zh-CN"/>
              <a:t>1</a:t>
            </a:r>
            <a:endParaRPr lang="zh-CN" altLang="en-US"/>
          </a:p>
        </p:txBody>
      </p:sp>
      <p:sp>
        <p:nvSpPr>
          <p:cNvPr id="6" name="灯片编号占位符 5"/>
          <p:cNvSpPr>
            <a:spLocks noGrp="1"/>
          </p:cNvSpPr>
          <p:nvPr>
            <p:ph type="sldNum" sz="quarter" idx="12"/>
          </p:nvPr>
        </p:nvSpPr>
        <p:spPr/>
        <p:txBody>
          <a:bodyPr/>
          <a:lstStyle/>
          <a:p>
            <a:fld id="{718929A7-BED7-489C-BC02-D20B9FB58884}"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91DA9FBF-6105-44D3-963D-ECC7F4D0B404}" type="datetime1">
              <a:rPr lang="zh-CN" altLang="en-US" smtClean="0"/>
              <a:t>2024/6/7</a:t>
            </a:fld>
            <a:endParaRPr lang="zh-CN" altLang="en-US"/>
          </a:p>
        </p:txBody>
      </p:sp>
      <p:sp>
        <p:nvSpPr>
          <p:cNvPr id="5" name="页脚占位符 4"/>
          <p:cNvSpPr>
            <a:spLocks noGrp="1"/>
          </p:cNvSpPr>
          <p:nvPr>
            <p:ph type="ftr" sz="quarter" idx="11"/>
          </p:nvPr>
        </p:nvSpPr>
        <p:spPr/>
        <p:txBody>
          <a:bodyPr/>
          <a:lstStyle/>
          <a:p>
            <a:r>
              <a:rPr lang="en-US" altLang="zh-CN"/>
              <a:t>1</a:t>
            </a:r>
            <a:endParaRPr lang="zh-CN" altLang="en-US"/>
          </a:p>
        </p:txBody>
      </p:sp>
      <p:sp>
        <p:nvSpPr>
          <p:cNvPr id="6" name="灯片编号占位符 5"/>
          <p:cNvSpPr>
            <a:spLocks noGrp="1"/>
          </p:cNvSpPr>
          <p:nvPr>
            <p:ph type="sldNum" sz="quarter" idx="12"/>
          </p:nvPr>
        </p:nvSpPr>
        <p:spPr/>
        <p:txBody>
          <a:bodyPr/>
          <a:lstStyle/>
          <a:p>
            <a:fld id="{718929A7-BED7-489C-BC02-D20B9FB58884}"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1934F5FC-0A1C-42F0-91F3-C06E5BC62F6E}" type="datetime1">
              <a:rPr lang="zh-CN" altLang="en-US" smtClean="0"/>
              <a:t>2024/6/7</a:t>
            </a:fld>
            <a:endParaRPr lang="zh-CN" altLang="en-US"/>
          </a:p>
        </p:txBody>
      </p:sp>
      <p:sp>
        <p:nvSpPr>
          <p:cNvPr id="5" name="页脚占位符 4"/>
          <p:cNvSpPr>
            <a:spLocks noGrp="1"/>
          </p:cNvSpPr>
          <p:nvPr>
            <p:ph type="ftr" sz="quarter" idx="11"/>
          </p:nvPr>
        </p:nvSpPr>
        <p:spPr/>
        <p:txBody>
          <a:bodyPr/>
          <a:lstStyle/>
          <a:p>
            <a:r>
              <a:rPr lang="en-US" altLang="zh-CN"/>
              <a:t>1</a:t>
            </a:r>
            <a:endParaRPr lang="zh-CN" altLang="en-US"/>
          </a:p>
        </p:txBody>
      </p:sp>
      <p:sp>
        <p:nvSpPr>
          <p:cNvPr id="6" name="灯片编号占位符 5"/>
          <p:cNvSpPr>
            <a:spLocks noGrp="1"/>
          </p:cNvSpPr>
          <p:nvPr>
            <p:ph type="sldNum" sz="quarter" idx="12"/>
          </p:nvPr>
        </p:nvSpPr>
        <p:spPr/>
        <p:txBody>
          <a:bodyPr/>
          <a:lstStyle/>
          <a:p>
            <a:fld id="{E6B51C8D-DA07-4D55-AE0E-1B6D59914AB5}" type="slidenum">
              <a:rPr lang="zh-CN" altLang="en-US" smtClean="0"/>
              <a:t>‹#›</a:t>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1A928C6D-51B3-45AF-9B21-492A0C71E4CF}" type="datetime1">
              <a:rPr lang="zh-CN" altLang="en-US" smtClean="0"/>
              <a:t>2024/6/7</a:t>
            </a:fld>
            <a:endParaRPr lang="zh-CN" altLang="en-US"/>
          </a:p>
        </p:txBody>
      </p:sp>
      <p:sp>
        <p:nvSpPr>
          <p:cNvPr id="5" name="页脚占位符 4"/>
          <p:cNvSpPr>
            <a:spLocks noGrp="1"/>
          </p:cNvSpPr>
          <p:nvPr>
            <p:ph type="ftr" sz="quarter" idx="11"/>
          </p:nvPr>
        </p:nvSpPr>
        <p:spPr/>
        <p:txBody>
          <a:bodyPr/>
          <a:lstStyle/>
          <a:p>
            <a:r>
              <a:rPr lang="en-US" altLang="zh-CN"/>
              <a:t>1</a:t>
            </a:r>
            <a:endParaRPr lang="zh-CN" altLang="en-US"/>
          </a:p>
        </p:txBody>
      </p:sp>
      <p:sp>
        <p:nvSpPr>
          <p:cNvPr id="6" name="灯片编号占位符 5"/>
          <p:cNvSpPr>
            <a:spLocks noGrp="1"/>
          </p:cNvSpPr>
          <p:nvPr>
            <p:ph type="sldNum" sz="quarter" idx="12"/>
          </p:nvPr>
        </p:nvSpPr>
        <p:spPr/>
        <p:txBody>
          <a:bodyPr/>
          <a:lstStyle/>
          <a:p>
            <a:fld id="{E6B51C8D-DA07-4D55-AE0E-1B6D59914AB5}" type="slidenum">
              <a:rPr lang="zh-CN" altLang="en-US" smtClean="0"/>
              <a:t>‹#›</a:t>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A4DE1A00-D088-4AA7-8FE0-B45386F06DF9}" type="datetime1">
              <a:rPr lang="zh-CN" altLang="en-US" smtClean="0"/>
              <a:t>2024/6/7</a:t>
            </a:fld>
            <a:endParaRPr lang="zh-CN" altLang="en-US"/>
          </a:p>
        </p:txBody>
      </p:sp>
      <p:sp>
        <p:nvSpPr>
          <p:cNvPr id="5" name="页脚占位符 4"/>
          <p:cNvSpPr>
            <a:spLocks noGrp="1"/>
          </p:cNvSpPr>
          <p:nvPr>
            <p:ph type="ftr" sz="quarter" idx="11"/>
          </p:nvPr>
        </p:nvSpPr>
        <p:spPr/>
        <p:txBody>
          <a:bodyPr/>
          <a:lstStyle/>
          <a:p>
            <a:r>
              <a:rPr lang="en-US" altLang="zh-CN"/>
              <a:t>1</a:t>
            </a:r>
            <a:endParaRPr lang="zh-CN" altLang="en-US"/>
          </a:p>
        </p:txBody>
      </p:sp>
      <p:sp>
        <p:nvSpPr>
          <p:cNvPr id="6" name="灯片编号占位符 5"/>
          <p:cNvSpPr>
            <a:spLocks noGrp="1"/>
          </p:cNvSpPr>
          <p:nvPr>
            <p:ph type="sldNum" sz="quarter" idx="12"/>
          </p:nvPr>
        </p:nvSpPr>
        <p:spPr/>
        <p:txBody>
          <a:bodyPr/>
          <a:lstStyle/>
          <a:p>
            <a:fld id="{E6B51C8D-DA07-4D55-AE0E-1B6D59914AB5}" type="slidenum">
              <a:rPr lang="zh-CN" altLang="en-US" smtClean="0"/>
              <a:t>‹#›</a:t>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10"/>
          </p:nvPr>
        </p:nvSpPr>
        <p:spPr/>
        <p:txBody>
          <a:bodyPr/>
          <a:lstStyle/>
          <a:p>
            <a:fld id="{9938CCEA-28EA-41B0-979F-CE45A05AA6D2}" type="datetime1">
              <a:rPr lang="zh-CN" altLang="en-US" smtClean="0"/>
              <a:t>2024/6/7</a:t>
            </a:fld>
            <a:endParaRPr lang="zh-CN" altLang="en-US"/>
          </a:p>
        </p:txBody>
      </p:sp>
      <p:sp>
        <p:nvSpPr>
          <p:cNvPr id="6" name="页脚占位符 5"/>
          <p:cNvSpPr>
            <a:spLocks noGrp="1"/>
          </p:cNvSpPr>
          <p:nvPr>
            <p:ph type="ftr" sz="quarter" idx="11"/>
          </p:nvPr>
        </p:nvSpPr>
        <p:spPr/>
        <p:txBody>
          <a:bodyPr/>
          <a:lstStyle/>
          <a:p>
            <a:r>
              <a:rPr lang="en-US" altLang="zh-CN"/>
              <a:t>1</a:t>
            </a:r>
            <a:endParaRPr lang="zh-CN" altLang="en-US"/>
          </a:p>
        </p:txBody>
      </p:sp>
      <p:sp>
        <p:nvSpPr>
          <p:cNvPr id="7" name="灯片编号占位符 6"/>
          <p:cNvSpPr>
            <a:spLocks noGrp="1"/>
          </p:cNvSpPr>
          <p:nvPr>
            <p:ph type="sldNum" sz="quarter" idx="12"/>
          </p:nvPr>
        </p:nvSpPr>
        <p:spPr/>
        <p:txBody>
          <a:bodyPr/>
          <a:lstStyle/>
          <a:p>
            <a:fld id="{E6B51C8D-DA07-4D55-AE0E-1B6D59914AB5}" type="slidenum">
              <a:rPr lang="zh-CN" altLang="en-US" smtClean="0"/>
              <a:t>‹#›</a:t>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p:cNvSpPr>
            <a:spLocks noGrp="1"/>
          </p:cNvSpPr>
          <p:nvPr>
            <p:ph type="dt" sz="half" idx="10"/>
          </p:nvPr>
        </p:nvSpPr>
        <p:spPr/>
        <p:txBody>
          <a:bodyPr/>
          <a:lstStyle/>
          <a:p>
            <a:fld id="{2422810B-676F-4244-8954-0ABE3F7E92D0}" type="datetime1">
              <a:rPr lang="zh-CN" altLang="en-US" smtClean="0"/>
              <a:t>2024/6/7</a:t>
            </a:fld>
            <a:endParaRPr lang="zh-CN" altLang="en-US"/>
          </a:p>
        </p:txBody>
      </p:sp>
      <p:sp>
        <p:nvSpPr>
          <p:cNvPr id="8" name="页脚占位符 7"/>
          <p:cNvSpPr>
            <a:spLocks noGrp="1"/>
          </p:cNvSpPr>
          <p:nvPr>
            <p:ph type="ftr" sz="quarter" idx="11"/>
          </p:nvPr>
        </p:nvSpPr>
        <p:spPr/>
        <p:txBody>
          <a:bodyPr/>
          <a:lstStyle/>
          <a:p>
            <a:r>
              <a:rPr lang="en-US" altLang="zh-CN"/>
              <a:t>1</a:t>
            </a:r>
            <a:endParaRPr lang="zh-CN" altLang="en-US"/>
          </a:p>
        </p:txBody>
      </p:sp>
      <p:sp>
        <p:nvSpPr>
          <p:cNvPr id="9" name="灯片编号占位符 8"/>
          <p:cNvSpPr>
            <a:spLocks noGrp="1"/>
          </p:cNvSpPr>
          <p:nvPr>
            <p:ph type="sldNum" sz="quarter" idx="12"/>
          </p:nvPr>
        </p:nvSpPr>
        <p:spPr/>
        <p:txBody>
          <a:bodyPr/>
          <a:lstStyle/>
          <a:p>
            <a:fld id="{E6B51C8D-DA07-4D55-AE0E-1B6D59914AB5}" type="slidenum">
              <a:rPr lang="zh-CN" altLang="en-US" smtClean="0"/>
              <a:t>‹#›</a:t>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D9612DBE-3331-4A14-9214-C7DA4E34F981}" type="datetime1">
              <a:rPr lang="zh-CN" altLang="en-US" smtClean="0"/>
              <a:t>2024/6/7</a:t>
            </a:fld>
            <a:endParaRPr lang="zh-CN" altLang="en-US"/>
          </a:p>
        </p:txBody>
      </p:sp>
      <p:sp>
        <p:nvSpPr>
          <p:cNvPr id="4" name="页脚占位符 3"/>
          <p:cNvSpPr>
            <a:spLocks noGrp="1"/>
          </p:cNvSpPr>
          <p:nvPr>
            <p:ph type="ftr" sz="quarter" idx="11"/>
          </p:nvPr>
        </p:nvSpPr>
        <p:spPr/>
        <p:txBody>
          <a:bodyPr/>
          <a:lstStyle/>
          <a:p>
            <a:r>
              <a:rPr lang="en-US" altLang="zh-CN"/>
              <a:t>1</a:t>
            </a:r>
            <a:endParaRPr lang="zh-CN" altLang="en-US"/>
          </a:p>
        </p:txBody>
      </p:sp>
      <p:sp>
        <p:nvSpPr>
          <p:cNvPr id="5" name="灯片编号占位符 4"/>
          <p:cNvSpPr>
            <a:spLocks noGrp="1"/>
          </p:cNvSpPr>
          <p:nvPr>
            <p:ph type="sldNum" sz="quarter" idx="12"/>
          </p:nvPr>
        </p:nvSpPr>
        <p:spPr/>
        <p:txBody>
          <a:bodyPr/>
          <a:lstStyle/>
          <a:p>
            <a:fld id="{E6B51C8D-DA07-4D55-AE0E-1B6D59914AB5}" type="slidenum">
              <a:rPr lang="zh-CN" altLang="en-US" smtClean="0"/>
              <a:t>‹#›</a:t>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1C263493-E619-4B36-AE58-A409018DF244}" type="datetime1">
              <a:rPr lang="zh-CN" altLang="en-US" smtClean="0"/>
              <a:t>2024/6/7</a:t>
            </a:fld>
            <a:endParaRPr lang="zh-CN" altLang="en-US"/>
          </a:p>
        </p:txBody>
      </p:sp>
      <p:sp>
        <p:nvSpPr>
          <p:cNvPr id="3" name="页脚占位符 2"/>
          <p:cNvSpPr>
            <a:spLocks noGrp="1"/>
          </p:cNvSpPr>
          <p:nvPr>
            <p:ph type="ftr" sz="quarter" idx="11"/>
          </p:nvPr>
        </p:nvSpPr>
        <p:spPr/>
        <p:txBody>
          <a:bodyPr/>
          <a:lstStyle/>
          <a:p>
            <a:r>
              <a:rPr lang="en-US" altLang="zh-CN"/>
              <a:t>1</a:t>
            </a:r>
            <a:endParaRPr lang="zh-CN" altLang="en-US"/>
          </a:p>
        </p:txBody>
      </p:sp>
      <p:sp>
        <p:nvSpPr>
          <p:cNvPr id="4" name="灯片编号占位符 3"/>
          <p:cNvSpPr>
            <a:spLocks noGrp="1"/>
          </p:cNvSpPr>
          <p:nvPr>
            <p:ph type="sldNum" sz="quarter" idx="12"/>
          </p:nvPr>
        </p:nvSpPr>
        <p:spPr/>
        <p:txBody>
          <a:bodyPr/>
          <a:lstStyle/>
          <a:p>
            <a:fld id="{E6B51C8D-DA07-4D55-AE0E-1B6D59914AB5}" type="slidenum">
              <a:rPr lang="zh-CN" altLang="en-US" smtClean="0"/>
              <a:t>‹#›</a:t>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A9DD0B22-451E-46B5-BCB6-E3021C8A243E}" type="datetime1">
              <a:rPr lang="zh-CN" altLang="en-US" smtClean="0"/>
              <a:t>2024/6/7</a:t>
            </a:fld>
            <a:endParaRPr lang="zh-CN" altLang="en-US"/>
          </a:p>
        </p:txBody>
      </p:sp>
      <p:sp>
        <p:nvSpPr>
          <p:cNvPr id="6" name="页脚占位符 5"/>
          <p:cNvSpPr>
            <a:spLocks noGrp="1"/>
          </p:cNvSpPr>
          <p:nvPr>
            <p:ph type="ftr" sz="quarter" idx="11"/>
          </p:nvPr>
        </p:nvSpPr>
        <p:spPr/>
        <p:txBody>
          <a:bodyPr/>
          <a:lstStyle/>
          <a:p>
            <a:r>
              <a:rPr lang="en-US" altLang="zh-CN"/>
              <a:t>1</a:t>
            </a:r>
            <a:endParaRPr lang="zh-CN" altLang="en-US"/>
          </a:p>
        </p:txBody>
      </p:sp>
      <p:sp>
        <p:nvSpPr>
          <p:cNvPr id="7" name="灯片编号占位符 6"/>
          <p:cNvSpPr>
            <a:spLocks noGrp="1"/>
          </p:cNvSpPr>
          <p:nvPr>
            <p:ph type="sldNum" sz="quarter" idx="12"/>
          </p:nvPr>
        </p:nvSpPr>
        <p:spPr/>
        <p:txBody>
          <a:bodyPr/>
          <a:lstStyle/>
          <a:p>
            <a:fld id="{E6B51C8D-DA07-4D55-AE0E-1B6D59914AB5}" type="slidenum">
              <a:rPr lang="zh-CN" altLang="en-US" smtClean="0"/>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408D7484-8171-41CC-B29C-11E8F6B8876E}" type="datetime1">
              <a:rPr lang="zh-CN" altLang="en-US" smtClean="0"/>
              <a:t>2024/6/7</a:t>
            </a:fld>
            <a:endParaRPr lang="zh-CN" altLang="en-US"/>
          </a:p>
        </p:txBody>
      </p:sp>
      <p:sp>
        <p:nvSpPr>
          <p:cNvPr id="5" name="页脚占位符 4"/>
          <p:cNvSpPr>
            <a:spLocks noGrp="1"/>
          </p:cNvSpPr>
          <p:nvPr>
            <p:ph type="ftr" sz="quarter" idx="11"/>
          </p:nvPr>
        </p:nvSpPr>
        <p:spPr/>
        <p:txBody>
          <a:bodyPr/>
          <a:lstStyle/>
          <a:p>
            <a:r>
              <a:rPr lang="en-US" altLang="zh-CN"/>
              <a:t>1</a:t>
            </a:r>
            <a:endParaRPr lang="zh-CN" altLang="en-US"/>
          </a:p>
        </p:txBody>
      </p:sp>
      <p:sp>
        <p:nvSpPr>
          <p:cNvPr id="6" name="灯片编号占位符 5"/>
          <p:cNvSpPr>
            <a:spLocks noGrp="1"/>
          </p:cNvSpPr>
          <p:nvPr>
            <p:ph type="sldNum" sz="quarter" idx="12"/>
          </p:nvPr>
        </p:nvSpPr>
        <p:spPr/>
        <p:txBody>
          <a:bodyPr/>
          <a:lstStyle/>
          <a:p>
            <a:fld id="{718929A7-BED7-489C-BC02-D20B9FB58884}" type="slidenum">
              <a:rPr lang="zh-CN" altLang="en-US" smtClean="0"/>
              <a:t>‹#›</a:t>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A0E9151B-C615-47FE-A199-6582BDC92066}" type="datetime1">
              <a:rPr lang="zh-CN" altLang="en-US" smtClean="0"/>
              <a:t>2024/6/7</a:t>
            </a:fld>
            <a:endParaRPr lang="zh-CN" altLang="en-US"/>
          </a:p>
        </p:txBody>
      </p:sp>
      <p:sp>
        <p:nvSpPr>
          <p:cNvPr id="6" name="页脚占位符 5"/>
          <p:cNvSpPr>
            <a:spLocks noGrp="1"/>
          </p:cNvSpPr>
          <p:nvPr>
            <p:ph type="ftr" sz="quarter" idx="11"/>
          </p:nvPr>
        </p:nvSpPr>
        <p:spPr/>
        <p:txBody>
          <a:bodyPr/>
          <a:lstStyle/>
          <a:p>
            <a:r>
              <a:rPr lang="en-US" altLang="zh-CN"/>
              <a:t>1</a:t>
            </a:r>
            <a:endParaRPr lang="zh-CN" altLang="en-US"/>
          </a:p>
        </p:txBody>
      </p:sp>
      <p:sp>
        <p:nvSpPr>
          <p:cNvPr id="7" name="灯片编号占位符 6"/>
          <p:cNvSpPr>
            <a:spLocks noGrp="1"/>
          </p:cNvSpPr>
          <p:nvPr>
            <p:ph type="sldNum" sz="quarter" idx="12"/>
          </p:nvPr>
        </p:nvSpPr>
        <p:spPr/>
        <p:txBody>
          <a:bodyPr/>
          <a:lstStyle/>
          <a:p>
            <a:fld id="{E6B51C8D-DA07-4D55-AE0E-1B6D59914AB5}" type="slidenum">
              <a:rPr lang="zh-CN" altLang="en-US" smtClean="0"/>
              <a:t>‹#›</a:t>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04BE7C95-F852-4246-9880-3407DFAA5F2F}" type="datetime1">
              <a:rPr lang="zh-CN" altLang="en-US" smtClean="0"/>
              <a:t>2024/6/7</a:t>
            </a:fld>
            <a:endParaRPr lang="zh-CN" altLang="en-US"/>
          </a:p>
        </p:txBody>
      </p:sp>
      <p:sp>
        <p:nvSpPr>
          <p:cNvPr id="5" name="页脚占位符 4"/>
          <p:cNvSpPr>
            <a:spLocks noGrp="1"/>
          </p:cNvSpPr>
          <p:nvPr>
            <p:ph type="ftr" sz="quarter" idx="11"/>
          </p:nvPr>
        </p:nvSpPr>
        <p:spPr/>
        <p:txBody>
          <a:bodyPr/>
          <a:lstStyle/>
          <a:p>
            <a:r>
              <a:rPr lang="en-US" altLang="zh-CN"/>
              <a:t>1</a:t>
            </a:r>
            <a:endParaRPr lang="zh-CN" altLang="en-US"/>
          </a:p>
        </p:txBody>
      </p:sp>
      <p:sp>
        <p:nvSpPr>
          <p:cNvPr id="6" name="灯片编号占位符 5"/>
          <p:cNvSpPr>
            <a:spLocks noGrp="1"/>
          </p:cNvSpPr>
          <p:nvPr>
            <p:ph type="sldNum" sz="quarter" idx="12"/>
          </p:nvPr>
        </p:nvSpPr>
        <p:spPr/>
        <p:txBody>
          <a:bodyPr/>
          <a:lstStyle/>
          <a:p>
            <a:fld id="{E6B51C8D-DA07-4D55-AE0E-1B6D59914AB5}" type="slidenum">
              <a:rPr lang="zh-CN" altLang="en-US" smtClean="0"/>
              <a:t>‹#›</a:t>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1F0DF819-F21E-4354-A84B-0B87902077F7}" type="datetime1">
              <a:rPr lang="zh-CN" altLang="en-US" smtClean="0"/>
              <a:t>2024/6/7</a:t>
            </a:fld>
            <a:endParaRPr lang="zh-CN" altLang="en-US"/>
          </a:p>
        </p:txBody>
      </p:sp>
      <p:sp>
        <p:nvSpPr>
          <p:cNvPr id="5" name="页脚占位符 4"/>
          <p:cNvSpPr>
            <a:spLocks noGrp="1"/>
          </p:cNvSpPr>
          <p:nvPr>
            <p:ph type="ftr" sz="quarter" idx="11"/>
          </p:nvPr>
        </p:nvSpPr>
        <p:spPr/>
        <p:txBody>
          <a:bodyPr/>
          <a:lstStyle/>
          <a:p>
            <a:r>
              <a:rPr lang="en-US" altLang="zh-CN"/>
              <a:t>1</a:t>
            </a:r>
            <a:endParaRPr lang="zh-CN" altLang="en-US"/>
          </a:p>
        </p:txBody>
      </p:sp>
      <p:sp>
        <p:nvSpPr>
          <p:cNvPr id="6" name="灯片编号占位符 5"/>
          <p:cNvSpPr>
            <a:spLocks noGrp="1"/>
          </p:cNvSpPr>
          <p:nvPr>
            <p:ph type="sldNum" sz="quarter" idx="12"/>
          </p:nvPr>
        </p:nvSpPr>
        <p:spPr/>
        <p:txBody>
          <a:bodyPr/>
          <a:lstStyle/>
          <a:p>
            <a:fld id="{E6B51C8D-DA07-4D55-AE0E-1B6D59914AB5}" type="slidenum">
              <a:rPr lang="zh-CN" altLang="en-US" smtClean="0"/>
              <a:t>‹#›</a:t>
            </a:fld>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节标题">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3" name="矩形 2"/>
          <p:cNvSpPr/>
          <p:nvPr userDrawn="1"/>
        </p:nvSpPr>
        <p:spPr>
          <a:xfrm>
            <a:off x="0" y="1"/>
            <a:ext cx="12192000" cy="6858000"/>
          </a:xfrm>
          <a:prstGeom prst="rect">
            <a:avLst/>
          </a:prstGeom>
          <a:solidFill>
            <a:srgbClr val="007A65"/>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6" name="图片 5"/>
          <p:cNvPicPr>
            <a:picLocks noChangeAspect="1"/>
          </p:cNvPicPr>
          <p:nvPr/>
        </p:nvPicPr>
        <p:blipFill rotWithShape="1">
          <a:blip r:embed="rId2">
            <a:clrChange>
              <a:clrFrom>
                <a:srgbClr val="006258"/>
              </a:clrFrom>
              <a:clrTo>
                <a:srgbClr val="006258">
                  <a:alpha val="0"/>
                </a:srgbClr>
              </a:clrTo>
            </a:clrChange>
          </a:blip>
          <a:srcRect l="2850" t="21726" r="88400" b="14400"/>
          <a:stretch>
            <a:fillRect/>
          </a:stretch>
        </p:blipFill>
        <p:spPr>
          <a:xfrm>
            <a:off x="347472" y="165556"/>
            <a:ext cx="1066800" cy="486716"/>
          </a:xfrm>
          <a:prstGeom prst="rect">
            <a:avLst/>
          </a:prstGeom>
          <a:ln>
            <a:noFill/>
          </a:ln>
          <a:effectLst/>
        </p:spPr>
      </p:pic>
      <p:sp>
        <p:nvSpPr>
          <p:cNvPr id="10" name="文本框 9"/>
          <p:cNvSpPr txBox="1"/>
          <p:nvPr/>
        </p:nvSpPr>
        <p:spPr>
          <a:xfrm>
            <a:off x="1580741" y="252464"/>
            <a:ext cx="3253755" cy="256803"/>
          </a:xfrm>
          <a:custGeom>
            <a:avLst/>
            <a:gdLst/>
            <a:ahLst/>
            <a:cxnLst/>
            <a:rect l="l" t="t" r="r" b="b"/>
            <a:pathLst>
              <a:path w="3253755" h="256803">
                <a:moveTo>
                  <a:pt x="1471492" y="205550"/>
                </a:moveTo>
                <a:cubicBezTo>
                  <a:pt x="1472391" y="205550"/>
                  <a:pt x="1470323" y="205730"/>
                  <a:pt x="1465288" y="206090"/>
                </a:cubicBezTo>
                <a:lnTo>
                  <a:pt x="1468990" y="205667"/>
                </a:lnTo>
                <a:close/>
                <a:moveTo>
                  <a:pt x="1712380" y="173720"/>
                </a:moveTo>
                <a:lnTo>
                  <a:pt x="1712380" y="187747"/>
                </a:lnTo>
                <a:lnTo>
                  <a:pt x="1834307" y="187747"/>
                </a:lnTo>
                <a:lnTo>
                  <a:pt x="1834307" y="173720"/>
                </a:lnTo>
                <a:close/>
                <a:moveTo>
                  <a:pt x="2913869" y="154298"/>
                </a:moveTo>
                <a:lnTo>
                  <a:pt x="2913869" y="175878"/>
                </a:lnTo>
                <a:lnTo>
                  <a:pt x="2936528" y="175878"/>
                </a:lnTo>
                <a:lnTo>
                  <a:pt x="2936528" y="154298"/>
                </a:lnTo>
                <a:close/>
                <a:moveTo>
                  <a:pt x="2858840" y="154298"/>
                </a:moveTo>
                <a:lnTo>
                  <a:pt x="2858840" y="175878"/>
                </a:lnTo>
                <a:lnTo>
                  <a:pt x="2881499" y="175878"/>
                </a:lnTo>
                <a:lnTo>
                  <a:pt x="2881499" y="154298"/>
                </a:lnTo>
                <a:close/>
                <a:moveTo>
                  <a:pt x="3171751" y="146745"/>
                </a:moveTo>
                <a:lnTo>
                  <a:pt x="3207358" y="146745"/>
                </a:lnTo>
                <a:lnTo>
                  <a:pt x="3207358" y="158614"/>
                </a:lnTo>
                <a:lnTo>
                  <a:pt x="3253755" y="158614"/>
                </a:lnTo>
                <a:lnTo>
                  <a:pt x="3253755" y="189905"/>
                </a:lnTo>
                <a:lnTo>
                  <a:pt x="3207358" y="189905"/>
                </a:lnTo>
                <a:lnTo>
                  <a:pt x="3207358" y="211485"/>
                </a:lnTo>
                <a:cubicBezTo>
                  <a:pt x="3207358" y="236662"/>
                  <a:pt x="3192971" y="249969"/>
                  <a:pt x="3164198" y="251408"/>
                </a:cubicBezTo>
                <a:cubicBezTo>
                  <a:pt x="3150530" y="251408"/>
                  <a:pt x="3136503" y="251408"/>
                  <a:pt x="3122117" y="251408"/>
                </a:cubicBezTo>
                <a:cubicBezTo>
                  <a:pt x="3119239" y="238460"/>
                  <a:pt x="3116002" y="227670"/>
                  <a:pt x="3112406" y="219038"/>
                </a:cubicBezTo>
                <a:cubicBezTo>
                  <a:pt x="3114564" y="219038"/>
                  <a:pt x="3117081" y="219398"/>
                  <a:pt x="3119959" y="220117"/>
                </a:cubicBezTo>
                <a:cubicBezTo>
                  <a:pt x="3134345" y="220836"/>
                  <a:pt x="3144776" y="221196"/>
                  <a:pt x="3151250" y="221196"/>
                </a:cubicBezTo>
                <a:cubicBezTo>
                  <a:pt x="3164917" y="221196"/>
                  <a:pt x="3171751" y="214722"/>
                  <a:pt x="3171751" y="201774"/>
                </a:cubicBezTo>
                <a:lnTo>
                  <a:pt x="3171751" y="189905"/>
                </a:lnTo>
                <a:lnTo>
                  <a:pt x="3078957" y="189905"/>
                </a:lnTo>
                <a:cubicBezTo>
                  <a:pt x="3080395" y="191344"/>
                  <a:pt x="3082913" y="193502"/>
                  <a:pt x="3086510" y="196379"/>
                </a:cubicBezTo>
                <a:cubicBezTo>
                  <a:pt x="3089387" y="198537"/>
                  <a:pt x="3094782" y="203213"/>
                  <a:pt x="3102695" y="210406"/>
                </a:cubicBezTo>
                <a:lnTo>
                  <a:pt x="3081115" y="231986"/>
                </a:lnTo>
                <a:cubicBezTo>
                  <a:pt x="3068886" y="221915"/>
                  <a:pt x="3056297" y="210406"/>
                  <a:pt x="3043349" y="197458"/>
                </a:cubicBezTo>
                <a:lnTo>
                  <a:pt x="3050902" y="189905"/>
                </a:lnTo>
                <a:lnTo>
                  <a:pt x="2998031" y="189905"/>
                </a:lnTo>
                <a:lnTo>
                  <a:pt x="2998031" y="158614"/>
                </a:lnTo>
                <a:lnTo>
                  <a:pt x="3171751" y="158614"/>
                </a:lnTo>
                <a:close/>
                <a:moveTo>
                  <a:pt x="1432918" y="144587"/>
                </a:moveTo>
                <a:cubicBezTo>
                  <a:pt x="1419969" y="158973"/>
                  <a:pt x="1406302" y="171562"/>
                  <a:pt x="1391915" y="182352"/>
                </a:cubicBezTo>
                <a:cubicBezTo>
                  <a:pt x="1391915" y="182352"/>
                  <a:pt x="1404144" y="181633"/>
                  <a:pt x="1428601" y="180194"/>
                </a:cubicBezTo>
                <a:lnTo>
                  <a:pt x="1428601" y="160772"/>
                </a:lnTo>
                <a:lnTo>
                  <a:pt x="1452340" y="144587"/>
                </a:lnTo>
                <a:close/>
                <a:moveTo>
                  <a:pt x="1712380" y="138113"/>
                </a:moveTo>
                <a:lnTo>
                  <a:pt x="1712380" y="152140"/>
                </a:lnTo>
                <a:lnTo>
                  <a:pt x="1834307" y="152140"/>
                </a:lnTo>
                <a:lnTo>
                  <a:pt x="1834307" y="138113"/>
                </a:lnTo>
                <a:close/>
                <a:moveTo>
                  <a:pt x="1676772" y="113296"/>
                </a:moveTo>
                <a:lnTo>
                  <a:pt x="1870993" y="113296"/>
                </a:lnTo>
                <a:lnTo>
                  <a:pt x="1870993" y="215801"/>
                </a:lnTo>
                <a:cubicBezTo>
                  <a:pt x="1870993" y="236662"/>
                  <a:pt x="1860563" y="248171"/>
                  <a:pt x="1839702" y="250329"/>
                </a:cubicBezTo>
                <a:cubicBezTo>
                  <a:pt x="1824596" y="251768"/>
                  <a:pt x="1809490" y="252487"/>
                  <a:pt x="1794384" y="252487"/>
                </a:cubicBezTo>
                <a:cubicBezTo>
                  <a:pt x="1792945" y="247452"/>
                  <a:pt x="1790787" y="239899"/>
                  <a:pt x="1787910" y="229828"/>
                </a:cubicBezTo>
                <a:cubicBezTo>
                  <a:pt x="1787191" y="226951"/>
                  <a:pt x="1786471" y="224793"/>
                  <a:pt x="1785752" y="223354"/>
                </a:cubicBezTo>
                <a:cubicBezTo>
                  <a:pt x="1798700" y="224073"/>
                  <a:pt x="1810209" y="224433"/>
                  <a:pt x="1820280" y="224433"/>
                </a:cubicBezTo>
                <a:cubicBezTo>
                  <a:pt x="1829631" y="224433"/>
                  <a:pt x="1834307" y="219398"/>
                  <a:pt x="1834307" y="209327"/>
                </a:cubicBezTo>
                <a:lnTo>
                  <a:pt x="1712380" y="209327"/>
                </a:lnTo>
                <a:lnTo>
                  <a:pt x="1712380" y="252487"/>
                </a:lnTo>
                <a:lnTo>
                  <a:pt x="1676772" y="252487"/>
                </a:lnTo>
                <a:close/>
                <a:moveTo>
                  <a:pt x="2913869" y="107901"/>
                </a:moveTo>
                <a:lnTo>
                  <a:pt x="2913869" y="130560"/>
                </a:lnTo>
                <a:lnTo>
                  <a:pt x="2936528" y="130560"/>
                </a:lnTo>
                <a:lnTo>
                  <a:pt x="2936528" y="107901"/>
                </a:lnTo>
                <a:close/>
                <a:moveTo>
                  <a:pt x="2858840" y="107901"/>
                </a:moveTo>
                <a:lnTo>
                  <a:pt x="2858840" y="130560"/>
                </a:lnTo>
                <a:lnTo>
                  <a:pt x="2881499" y="130560"/>
                </a:lnTo>
                <a:lnTo>
                  <a:pt x="2881499" y="107901"/>
                </a:lnTo>
                <a:close/>
                <a:moveTo>
                  <a:pt x="596689" y="98190"/>
                </a:moveTo>
                <a:lnTo>
                  <a:pt x="741276" y="98190"/>
                </a:lnTo>
                <a:lnTo>
                  <a:pt x="741276" y="129481"/>
                </a:lnTo>
                <a:lnTo>
                  <a:pt x="697037" y="158614"/>
                </a:lnTo>
                <a:lnTo>
                  <a:pt x="791989" y="158614"/>
                </a:lnTo>
                <a:lnTo>
                  <a:pt x="791989" y="189905"/>
                </a:lnTo>
                <a:lnTo>
                  <a:pt x="692721" y="189905"/>
                </a:lnTo>
                <a:lnTo>
                  <a:pt x="692721" y="216880"/>
                </a:lnTo>
                <a:cubicBezTo>
                  <a:pt x="692721" y="239179"/>
                  <a:pt x="680852" y="250689"/>
                  <a:pt x="657114" y="251408"/>
                </a:cubicBezTo>
                <a:cubicBezTo>
                  <a:pt x="640569" y="252127"/>
                  <a:pt x="625103" y="252487"/>
                  <a:pt x="610716" y="252487"/>
                </a:cubicBezTo>
                <a:cubicBezTo>
                  <a:pt x="608558" y="240258"/>
                  <a:pt x="605681" y="229468"/>
                  <a:pt x="602084" y="220117"/>
                </a:cubicBezTo>
                <a:cubicBezTo>
                  <a:pt x="615032" y="220836"/>
                  <a:pt x="626901" y="221196"/>
                  <a:pt x="637692" y="221196"/>
                </a:cubicBezTo>
                <a:cubicBezTo>
                  <a:pt x="649920" y="221196"/>
                  <a:pt x="656035" y="216161"/>
                  <a:pt x="656035" y="206090"/>
                </a:cubicBezTo>
                <a:lnTo>
                  <a:pt x="656035" y="189905"/>
                </a:lnTo>
                <a:lnTo>
                  <a:pt x="543818" y="189905"/>
                </a:lnTo>
                <a:lnTo>
                  <a:pt x="543818" y="158614"/>
                </a:lnTo>
                <a:lnTo>
                  <a:pt x="656035" y="158614"/>
                </a:lnTo>
                <a:lnTo>
                  <a:pt x="656035" y="152140"/>
                </a:lnTo>
                <a:lnTo>
                  <a:pt x="690563" y="129481"/>
                </a:lnTo>
                <a:lnTo>
                  <a:pt x="596689" y="129481"/>
                </a:lnTo>
                <a:close/>
                <a:moveTo>
                  <a:pt x="2326519" y="96032"/>
                </a:moveTo>
                <a:cubicBezTo>
                  <a:pt x="2342344" y="117612"/>
                  <a:pt x="2357810" y="138472"/>
                  <a:pt x="2372916" y="158614"/>
                </a:cubicBezTo>
                <a:lnTo>
                  <a:pt x="2342704" y="178036"/>
                </a:lnTo>
                <a:cubicBezTo>
                  <a:pt x="2329756" y="156456"/>
                  <a:pt x="2315369" y="135235"/>
                  <a:pt x="2299544" y="114375"/>
                </a:cubicBezTo>
                <a:close/>
                <a:moveTo>
                  <a:pt x="1220354" y="86321"/>
                </a:moveTo>
                <a:cubicBezTo>
                  <a:pt x="1235460" y="97830"/>
                  <a:pt x="1250206" y="110059"/>
                  <a:pt x="1264593" y="123007"/>
                </a:cubicBezTo>
                <a:lnTo>
                  <a:pt x="1239776" y="146745"/>
                </a:lnTo>
                <a:cubicBezTo>
                  <a:pt x="1228986" y="133797"/>
                  <a:pt x="1215318" y="121208"/>
                  <a:pt x="1198774" y="108980"/>
                </a:cubicBezTo>
                <a:close/>
                <a:moveTo>
                  <a:pt x="134876" y="83084"/>
                </a:moveTo>
                <a:lnTo>
                  <a:pt x="134876" y="138113"/>
                </a:lnTo>
                <a:lnTo>
                  <a:pt x="192063" y="138113"/>
                </a:lnTo>
                <a:lnTo>
                  <a:pt x="192063" y="83084"/>
                </a:lnTo>
                <a:close/>
                <a:moveTo>
                  <a:pt x="37765" y="83084"/>
                </a:moveTo>
                <a:lnTo>
                  <a:pt x="37765" y="138113"/>
                </a:lnTo>
                <a:lnTo>
                  <a:pt x="96032" y="138113"/>
                </a:lnTo>
                <a:lnTo>
                  <a:pt x="96032" y="83084"/>
                </a:lnTo>
                <a:close/>
                <a:moveTo>
                  <a:pt x="1546213" y="75530"/>
                </a:moveTo>
                <a:cubicBezTo>
                  <a:pt x="1546213" y="76969"/>
                  <a:pt x="1545494" y="78768"/>
                  <a:pt x="1544055" y="80926"/>
                </a:cubicBezTo>
                <a:cubicBezTo>
                  <a:pt x="1543336" y="83803"/>
                  <a:pt x="1542616" y="85961"/>
                  <a:pt x="1541897" y="87400"/>
                </a:cubicBezTo>
                <a:cubicBezTo>
                  <a:pt x="1545494" y="112576"/>
                  <a:pt x="1551968" y="134876"/>
                  <a:pt x="1561319" y="154298"/>
                </a:cubicBezTo>
                <a:cubicBezTo>
                  <a:pt x="1572109" y="131998"/>
                  <a:pt x="1578583" y="105743"/>
                  <a:pt x="1580741" y="75530"/>
                </a:cubicBezTo>
                <a:close/>
                <a:moveTo>
                  <a:pt x="473683" y="60424"/>
                </a:moveTo>
                <a:cubicBezTo>
                  <a:pt x="490228" y="97830"/>
                  <a:pt x="506053" y="137034"/>
                  <a:pt x="521159" y="178036"/>
                </a:cubicBezTo>
                <a:lnTo>
                  <a:pt x="481236" y="194221"/>
                </a:lnTo>
                <a:cubicBezTo>
                  <a:pt x="466130" y="149622"/>
                  <a:pt x="451743" y="108980"/>
                  <a:pt x="438076" y="72293"/>
                </a:cubicBezTo>
                <a:close/>
                <a:moveTo>
                  <a:pt x="304279" y="60424"/>
                </a:moveTo>
                <a:lnTo>
                  <a:pt x="342044" y="70135"/>
                </a:lnTo>
                <a:cubicBezTo>
                  <a:pt x="330535" y="115454"/>
                  <a:pt x="317587" y="157535"/>
                  <a:pt x="303200" y="196379"/>
                </a:cubicBezTo>
                <a:cubicBezTo>
                  <a:pt x="297446" y="194221"/>
                  <a:pt x="289533" y="191344"/>
                  <a:pt x="279462" y="187747"/>
                </a:cubicBezTo>
                <a:cubicBezTo>
                  <a:pt x="272269" y="184870"/>
                  <a:pt x="267234" y="182712"/>
                  <a:pt x="264356" y="181273"/>
                </a:cubicBezTo>
                <a:cubicBezTo>
                  <a:pt x="279462" y="142429"/>
                  <a:pt x="292770" y="102146"/>
                  <a:pt x="304279" y="60424"/>
                </a:cubicBezTo>
                <a:close/>
                <a:moveTo>
                  <a:pt x="1446945" y="58266"/>
                </a:moveTo>
                <a:lnTo>
                  <a:pt x="1446945" y="76609"/>
                </a:lnTo>
                <a:lnTo>
                  <a:pt x="1453419" y="76609"/>
                </a:lnTo>
                <a:cubicBezTo>
                  <a:pt x="1459173" y="70855"/>
                  <a:pt x="1464209" y="64740"/>
                  <a:pt x="1468525" y="58266"/>
                </a:cubicBezTo>
                <a:close/>
                <a:moveTo>
                  <a:pt x="1759856" y="52871"/>
                </a:moveTo>
                <a:cubicBezTo>
                  <a:pt x="1745469" y="60784"/>
                  <a:pt x="1732161" y="69056"/>
                  <a:pt x="1719933" y="77688"/>
                </a:cubicBezTo>
                <a:cubicBezTo>
                  <a:pt x="1742951" y="76250"/>
                  <a:pt x="1774242" y="75171"/>
                  <a:pt x="1813806" y="74451"/>
                </a:cubicBezTo>
                <a:cubicBezTo>
                  <a:pt x="1812367" y="73013"/>
                  <a:pt x="1809850" y="70855"/>
                  <a:pt x="1806253" y="67977"/>
                </a:cubicBezTo>
                <a:cubicBezTo>
                  <a:pt x="1802656" y="65819"/>
                  <a:pt x="1799779" y="64021"/>
                  <a:pt x="1797621" y="62582"/>
                </a:cubicBezTo>
                <a:lnTo>
                  <a:pt x="1809490" y="52871"/>
                </a:lnTo>
                <a:close/>
                <a:moveTo>
                  <a:pt x="3057376" y="43160"/>
                </a:moveTo>
                <a:lnTo>
                  <a:pt x="3057376" y="61503"/>
                </a:lnTo>
                <a:lnTo>
                  <a:pt x="3180383" y="61503"/>
                </a:lnTo>
                <a:lnTo>
                  <a:pt x="3180383" y="43160"/>
                </a:lnTo>
                <a:close/>
                <a:moveTo>
                  <a:pt x="944129" y="38844"/>
                </a:moveTo>
                <a:cubicBezTo>
                  <a:pt x="930461" y="56828"/>
                  <a:pt x="913197" y="74092"/>
                  <a:pt x="892336" y="90637"/>
                </a:cubicBezTo>
                <a:lnTo>
                  <a:pt x="995921" y="90637"/>
                </a:lnTo>
                <a:cubicBezTo>
                  <a:pt x="973621" y="73372"/>
                  <a:pt x="956357" y="56108"/>
                  <a:pt x="944129" y="38844"/>
                </a:cubicBezTo>
                <a:close/>
                <a:moveTo>
                  <a:pt x="2191643" y="22659"/>
                </a:moveTo>
                <a:lnTo>
                  <a:pt x="2302781" y="22659"/>
                </a:lnTo>
                <a:lnTo>
                  <a:pt x="2302781" y="56108"/>
                </a:lnTo>
                <a:cubicBezTo>
                  <a:pt x="2299184" y="87759"/>
                  <a:pt x="2290552" y="120129"/>
                  <a:pt x="2276885" y="153219"/>
                </a:cubicBezTo>
                <a:cubicBezTo>
                  <a:pt x="2280481" y="158973"/>
                  <a:pt x="2286236" y="167965"/>
                  <a:pt x="2294149" y="180194"/>
                </a:cubicBezTo>
                <a:cubicBezTo>
                  <a:pt x="2302781" y="193142"/>
                  <a:pt x="2309614" y="203213"/>
                  <a:pt x="2314650" y="210406"/>
                </a:cubicBezTo>
                <a:lnTo>
                  <a:pt x="2282280" y="228749"/>
                </a:lnTo>
                <a:cubicBezTo>
                  <a:pt x="2273648" y="216520"/>
                  <a:pt x="2265375" y="203213"/>
                  <a:pt x="2257462" y="188826"/>
                </a:cubicBezTo>
                <a:cubicBezTo>
                  <a:pt x="2243076" y="211125"/>
                  <a:pt x="2226171" y="230547"/>
                  <a:pt x="2206749" y="247092"/>
                </a:cubicBezTo>
                <a:cubicBezTo>
                  <a:pt x="2206030" y="245653"/>
                  <a:pt x="2204591" y="243136"/>
                  <a:pt x="2202433" y="239539"/>
                </a:cubicBezTo>
                <a:cubicBezTo>
                  <a:pt x="2196679" y="228749"/>
                  <a:pt x="2191643" y="220477"/>
                  <a:pt x="2187327" y="214722"/>
                </a:cubicBezTo>
                <a:cubicBezTo>
                  <a:pt x="2206030" y="200335"/>
                  <a:pt x="2222575" y="180913"/>
                  <a:pt x="2236961" y="156456"/>
                </a:cubicBezTo>
                <a:cubicBezTo>
                  <a:pt x="2219697" y="127682"/>
                  <a:pt x="2204591" y="103585"/>
                  <a:pt x="2191643" y="84163"/>
                </a:cubicBezTo>
                <a:lnTo>
                  <a:pt x="2219697" y="66898"/>
                </a:lnTo>
                <a:cubicBezTo>
                  <a:pt x="2224733" y="73372"/>
                  <a:pt x="2231926" y="84163"/>
                  <a:pt x="2241277" y="99269"/>
                </a:cubicBezTo>
                <a:cubicBezTo>
                  <a:pt x="2246313" y="107901"/>
                  <a:pt x="2250269" y="114375"/>
                  <a:pt x="2253146" y="118691"/>
                </a:cubicBezTo>
                <a:cubicBezTo>
                  <a:pt x="2260340" y="99269"/>
                  <a:pt x="2265015" y="78408"/>
                  <a:pt x="2267174" y="56108"/>
                </a:cubicBezTo>
                <a:lnTo>
                  <a:pt x="2191643" y="56108"/>
                </a:lnTo>
                <a:close/>
                <a:moveTo>
                  <a:pt x="1228986" y="21580"/>
                </a:moveTo>
                <a:cubicBezTo>
                  <a:pt x="1242653" y="30932"/>
                  <a:pt x="1257040" y="42801"/>
                  <a:pt x="1272146" y="57187"/>
                </a:cubicBezTo>
                <a:lnTo>
                  <a:pt x="1248408" y="80926"/>
                </a:lnTo>
                <a:cubicBezTo>
                  <a:pt x="1236179" y="67258"/>
                  <a:pt x="1222512" y="54670"/>
                  <a:pt x="1207406" y="43160"/>
                </a:cubicBezTo>
                <a:close/>
                <a:moveTo>
                  <a:pt x="3021769" y="11869"/>
                </a:moveTo>
                <a:lnTo>
                  <a:pt x="3215990" y="11869"/>
                </a:lnTo>
                <a:lnTo>
                  <a:pt x="3215990" y="90637"/>
                </a:lnTo>
                <a:lnTo>
                  <a:pt x="3057376" y="90637"/>
                </a:lnTo>
                <a:lnTo>
                  <a:pt x="3057376" y="92795"/>
                </a:lnTo>
                <a:cubicBezTo>
                  <a:pt x="3057376" y="104304"/>
                  <a:pt x="3064210" y="110059"/>
                  <a:pt x="3077878" y="110059"/>
                </a:cubicBezTo>
                <a:lnTo>
                  <a:pt x="3193331" y="110059"/>
                </a:lnTo>
                <a:cubicBezTo>
                  <a:pt x="3207718" y="110059"/>
                  <a:pt x="3215990" y="104664"/>
                  <a:pt x="3218148" y="93874"/>
                </a:cubicBezTo>
                <a:cubicBezTo>
                  <a:pt x="3219587" y="86680"/>
                  <a:pt x="3220666" y="78768"/>
                  <a:pt x="3221385" y="70135"/>
                </a:cubicBezTo>
                <a:cubicBezTo>
                  <a:pt x="3222104" y="70135"/>
                  <a:pt x="3223903" y="70855"/>
                  <a:pt x="3226780" y="72293"/>
                </a:cubicBezTo>
                <a:cubicBezTo>
                  <a:pt x="3236132" y="75890"/>
                  <a:pt x="3244764" y="78408"/>
                  <a:pt x="3252676" y="79847"/>
                </a:cubicBezTo>
                <a:cubicBezTo>
                  <a:pt x="3251238" y="88479"/>
                  <a:pt x="3248720" y="98909"/>
                  <a:pt x="3245123" y="111138"/>
                </a:cubicBezTo>
                <a:cubicBezTo>
                  <a:pt x="3244404" y="114015"/>
                  <a:pt x="3244044" y="115813"/>
                  <a:pt x="3244044" y="116533"/>
                </a:cubicBezTo>
                <a:cubicBezTo>
                  <a:pt x="3239728" y="133077"/>
                  <a:pt x="3224622" y="141350"/>
                  <a:pt x="3198726" y="141350"/>
                </a:cubicBezTo>
                <a:lnTo>
                  <a:pt x="3071403" y="141350"/>
                </a:lnTo>
                <a:cubicBezTo>
                  <a:pt x="3038314" y="141350"/>
                  <a:pt x="3021769" y="126244"/>
                  <a:pt x="3021769" y="96032"/>
                </a:cubicBezTo>
                <a:close/>
                <a:moveTo>
                  <a:pt x="2540161" y="11869"/>
                </a:moveTo>
                <a:lnTo>
                  <a:pt x="2567137" y="11869"/>
                </a:lnTo>
                <a:lnTo>
                  <a:pt x="2567137" y="239539"/>
                </a:lnTo>
                <a:lnTo>
                  <a:pt x="2531529" y="239539"/>
                </a:lnTo>
                <a:cubicBezTo>
                  <a:pt x="2531529" y="196379"/>
                  <a:pt x="2531529" y="141709"/>
                  <a:pt x="2531529" y="75530"/>
                </a:cubicBezTo>
                <a:cubicBezTo>
                  <a:pt x="2517862" y="85601"/>
                  <a:pt x="2498799" y="95672"/>
                  <a:pt x="2474342" y="105743"/>
                </a:cubicBezTo>
                <a:lnTo>
                  <a:pt x="2474342" y="71214"/>
                </a:lnTo>
                <a:cubicBezTo>
                  <a:pt x="2510309" y="56108"/>
                  <a:pt x="2532249" y="36327"/>
                  <a:pt x="2540161" y="11869"/>
                </a:cubicBezTo>
                <a:close/>
                <a:moveTo>
                  <a:pt x="2092486" y="11869"/>
                </a:moveTo>
                <a:lnTo>
                  <a:pt x="2119462" y="11869"/>
                </a:lnTo>
                <a:lnTo>
                  <a:pt x="2119462" y="239539"/>
                </a:lnTo>
                <a:lnTo>
                  <a:pt x="2083854" y="239539"/>
                </a:lnTo>
                <a:cubicBezTo>
                  <a:pt x="2083854" y="196379"/>
                  <a:pt x="2083854" y="141709"/>
                  <a:pt x="2083854" y="75530"/>
                </a:cubicBezTo>
                <a:cubicBezTo>
                  <a:pt x="2070187" y="85601"/>
                  <a:pt x="2051125" y="95672"/>
                  <a:pt x="2026667" y="105743"/>
                </a:cubicBezTo>
                <a:lnTo>
                  <a:pt x="2026667" y="71214"/>
                </a:lnTo>
                <a:cubicBezTo>
                  <a:pt x="2062634" y="56108"/>
                  <a:pt x="2084574" y="36327"/>
                  <a:pt x="2092486" y="11869"/>
                </a:cubicBezTo>
                <a:close/>
                <a:moveTo>
                  <a:pt x="1192300" y="9711"/>
                </a:moveTo>
                <a:lnTo>
                  <a:pt x="1202011" y="39923"/>
                </a:lnTo>
                <a:cubicBezTo>
                  <a:pt x="1197695" y="40643"/>
                  <a:pt x="1191221" y="41722"/>
                  <a:pt x="1182589" y="43160"/>
                </a:cubicBezTo>
                <a:cubicBezTo>
                  <a:pt x="1175395" y="43880"/>
                  <a:pt x="1169641" y="44599"/>
                  <a:pt x="1165325" y="45318"/>
                </a:cubicBezTo>
                <a:lnTo>
                  <a:pt x="1165325" y="76609"/>
                </a:lnTo>
                <a:lnTo>
                  <a:pt x="1198774" y="76609"/>
                </a:lnTo>
                <a:lnTo>
                  <a:pt x="1198774" y="108980"/>
                </a:lnTo>
                <a:lnTo>
                  <a:pt x="1198774" y="110059"/>
                </a:lnTo>
                <a:lnTo>
                  <a:pt x="1165325" y="110059"/>
                </a:lnTo>
                <a:lnTo>
                  <a:pt x="1165325" y="131639"/>
                </a:lnTo>
                <a:lnTo>
                  <a:pt x="1177194" y="120849"/>
                </a:lnTo>
                <a:cubicBezTo>
                  <a:pt x="1190142" y="131639"/>
                  <a:pt x="1200572" y="141350"/>
                  <a:pt x="1208485" y="149982"/>
                </a:cubicBezTo>
                <a:lnTo>
                  <a:pt x="1186905" y="170483"/>
                </a:lnTo>
                <a:cubicBezTo>
                  <a:pt x="1183308" y="166167"/>
                  <a:pt x="1178632" y="160772"/>
                  <a:pt x="1172878" y="154298"/>
                </a:cubicBezTo>
                <a:cubicBezTo>
                  <a:pt x="1169281" y="149982"/>
                  <a:pt x="1166763" y="147104"/>
                  <a:pt x="1165325" y="145666"/>
                </a:cubicBezTo>
                <a:lnTo>
                  <a:pt x="1165325" y="253566"/>
                </a:lnTo>
                <a:lnTo>
                  <a:pt x="1131875" y="253566"/>
                </a:lnTo>
                <a:lnTo>
                  <a:pt x="1131875" y="169404"/>
                </a:lnTo>
                <a:cubicBezTo>
                  <a:pt x="1123963" y="185949"/>
                  <a:pt x="1114611" y="201414"/>
                  <a:pt x="1103821" y="215801"/>
                </a:cubicBezTo>
                <a:cubicBezTo>
                  <a:pt x="1101663" y="205011"/>
                  <a:pt x="1097707" y="191344"/>
                  <a:pt x="1091952" y="174799"/>
                </a:cubicBezTo>
                <a:cubicBezTo>
                  <a:pt x="1108497" y="155377"/>
                  <a:pt x="1121085" y="133797"/>
                  <a:pt x="1129717" y="110059"/>
                </a:cubicBezTo>
                <a:lnTo>
                  <a:pt x="1095189" y="110059"/>
                </a:lnTo>
                <a:lnTo>
                  <a:pt x="1095189" y="76609"/>
                </a:lnTo>
                <a:lnTo>
                  <a:pt x="1131875" y="76609"/>
                </a:lnTo>
                <a:lnTo>
                  <a:pt x="1131875" y="48555"/>
                </a:lnTo>
                <a:cubicBezTo>
                  <a:pt x="1128279" y="48555"/>
                  <a:pt x="1123243" y="48915"/>
                  <a:pt x="1116769" y="49634"/>
                </a:cubicBezTo>
                <a:cubicBezTo>
                  <a:pt x="1109576" y="49634"/>
                  <a:pt x="1104181" y="49994"/>
                  <a:pt x="1100584" y="50713"/>
                </a:cubicBezTo>
                <a:cubicBezTo>
                  <a:pt x="1098426" y="39204"/>
                  <a:pt x="1096268" y="29133"/>
                  <a:pt x="1094110" y="20501"/>
                </a:cubicBezTo>
                <a:cubicBezTo>
                  <a:pt x="1129358" y="17624"/>
                  <a:pt x="1162088" y="14027"/>
                  <a:pt x="1192300" y="9711"/>
                </a:cubicBezTo>
                <a:close/>
                <a:moveTo>
                  <a:pt x="1415653" y="4316"/>
                </a:moveTo>
                <a:lnTo>
                  <a:pt x="1446945" y="4316"/>
                </a:lnTo>
                <a:lnTo>
                  <a:pt x="1446945" y="31291"/>
                </a:lnTo>
                <a:lnTo>
                  <a:pt x="1473920" y="31291"/>
                </a:lnTo>
                <a:lnTo>
                  <a:pt x="1473920" y="49634"/>
                </a:lnTo>
                <a:cubicBezTo>
                  <a:pt x="1475358" y="47476"/>
                  <a:pt x="1477876" y="43880"/>
                  <a:pt x="1481473" y="38844"/>
                </a:cubicBezTo>
                <a:cubicBezTo>
                  <a:pt x="1485069" y="33809"/>
                  <a:pt x="1487947" y="29853"/>
                  <a:pt x="1490105" y="26975"/>
                </a:cubicBezTo>
                <a:lnTo>
                  <a:pt x="1513843" y="43160"/>
                </a:lnTo>
                <a:cubicBezTo>
                  <a:pt x="1505211" y="56108"/>
                  <a:pt x="1497298" y="67258"/>
                  <a:pt x="1490105" y="76609"/>
                </a:cubicBezTo>
                <a:lnTo>
                  <a:pt x="1499816" y="76609"/>
                </a:lnTo>
                <a:lnTo>
                  <a:pt x="1499816" y="102506"/>
                </a:lnTo>
                <a:cubicBezTo>
                  <a:pt x="1514203" y="71574"/>
                  <a:pt x="1524993" y="38844"/>
                  <a:pt x="1532186" y="4316"/>
                </a:cubicBezTo>
                <a:lnTo>
                  <a:pt x="1566714" y="7553"/>
                </a:lnTo>
                <a:cubicBezTo>
                  <a:pt x="1565995" y="11150"/>
                  <a:pt x="1564556" y="16185"/>
                  <a:pt x="1562398" y="22659"/>
                </a:cubicBezTo>
                <a:cubicBezTo>
                  <a:pt x="1559521" y="32011"/>
                  <a:pt x="1557722" y="39204"/>
                  <a:pt x="1557003" y="44239"/>
                </a:cubicBezTo>
                <a:lnTo>
                  <a:pt x="1622822" y="44239"/>
                </a:lnTo>
                <a:lnTo>
                  <a:pt x="1622822" y="75530"/>
                </a:lnTo>
                <a:lnTo>
                  <a:pt x="1612032" y="75530"/>
                </a:lnTo>
                <a:cubicBezTo>
                  <a:pt x="1608435" y="119410"/>
                  <a:pt x="1598365" y="156456"/>
                  <a:pt x="1581820" y="186668"/>
                </a:cubicBezTo>
                <a:cubicBezTo>
                  <a:pt x="1593329" y="201055"/>
                  <a:pt x="1607716" y="212564"/>
                  <a:pt x="1624980" y="221196"/>
                </a:cubicBezTo>
                <a:cubicBezTo>
                  <a:pt x="1619945" y="224793"/>
                  <a:pt x="1612392" y="235223"/>
                  <a:pt x="1602321" y="252487"/>
                </a:cubicBezTo>
                <a:cubicBezTo>
                  <a:pt x="1586496" y="241697"/>
                  <a:pt x="1572828" y="230188"/>
                  <a:pt x="1561319" y="217959"/>
                </a:cubicBezTo>
                <a:cubicBezTo>
                  <a:pt x="1546932" y="233065"/>
                  <a:pt x="1530028" y="246013"/>
                  <a:pt x="1510606" y="256803"/>
                </a:cubicBezTo>
                <a:cubicBezTo>
                  <a:pt x="1506290" y="250329"/>
                  <a:pt x="1499456" y="242057"/>
                  <a:pt x="1490105" y="231986"/>
                </a:cubicBezTo>
                <a:cubicBezTo>
                  <a:pt x="1487947" y="229109"/>
                  <a:pt x="1486148" y="226951"/>
                  <a:pt x="1484710" y="225512"/>
                </a:cubicBezTo>
                <a:cubicBezTo>
                  <a:pt x="1507009" y="216161"/>
                  <a:pt x="1525712" y="202853"/>
                  <a:pt x="1540818" y="185589"/>
                </a:cubicBezTo>
                <a:cubicBezTo>
                  <a:pt x="1533625" y="169763"/>
                  <a:pt x="1527151" y="152140"/>
                  <a:pt x="1521396" y="132718"/>
                </a:cubicBezTo>
                <a:cubicBezTo>
                  <a:pt x="1520677" y="134156"/>
                  <a:pt x="1519598" y="136314"/>
                  <a:pt x="1518159" y="139192"/>
                </a:cubicBezTo>
                <a:cubicBezTo>
                  <a:pt x="1516001" y="143508"/>
                  <a:pt x="1514203" y="146385"/>
                  <a:pt x="1512764" y="147824"/>
                </a:cubicBezTo>
                <a:cubicBezTo>
                  <a:pt x="1507009" y="137753"/>
                  <a:pt x="1500175" y="127323"/>
                  <a:pt x="1492263" y="116533"/>
                </a:cubicBezTo>
                <a:cubicBezTo>
                  <a:pt x="1492982" y="114375"/>
                  <a:pt x="1494421" y="111497"/>
                  <a:pt x="1496579" y="107901"/>
                </a:cubicBezTo>
                <a:cubicBezTo>
                  <a:pt x="1497298" y="105743"/>
                  <a:pt x="1498017" y="104304"/>
                  <a:pt x="1498737" y="103585"/>
                </a:cubicBezTo>
                <a:lnTo>
                  <a:pt x="1468525" y="103585"/>
                </a:lnTo>
                <a:cubicBezTo>
                  <a:pt x="1467086" y="105023"/>
                  <a:pt x="1464928" y="107541"/>
                  <a:pt x="1462051" y="111138"/>
                </a:cubicBezTo>
                <a:cubicBezTo>
                  <a:pt x="1459173" y="114015"/>
                  <a:pt x="1457015" y="116533"/>
                  <a:pt x="1455577" y="118691"/>
                </a:cubicBezTo>
                <a:lnTo>
                  <a:pt x="1491184" y="118691"/>
                </a:lnTo>
                <a:lnTo>
                  <a:pt x="1491184" y="145666"/>
                </a:lnTo>
                <a:lnTo>
                  <a:pt x="1459893" y="167246"/>
                </a:lnTo>
                <a:lnTo>
                  <a:pt x="1459893" y="176957"/>
                </a:lnTo>
                <a:cubicBezTo>
                  <a:pt x="1474999" y="175518"/>
                  <a:pt x="1489745" y="174439"/>
                  <a:pt x="1504132" y="173720"/>
                </a:cubicBezTo>
                <a:cubicBezTo>
                  <a:pt x="1504132" y="178036"/>
                  <a:pt x="1503772" y="184150"/>
                  <a:pt x="1503053" y="192063"/>
                </a:cubicBezTo>
                <a:cubicBezTo>
                  <a:pt x="1503053" y="196379"/>
                  <a:pt x="1503053" y="199616"/>
                  <a:pt x="1503053" y="201774"/>
                </a:cubicBezTo>
                <a:lnTo>
                  <a:pt x="1468990" y="205667"/>
                </a:lnTo>
                <a:lnTo>
                  <a:pt x="1459893" y="206090"/>
                </a:lnTo>
                <a:lnTo>
                  <a:pt x="1459893" y="223354"/>
                </a:lnTo>
                <a:cubicBezTo>
                  <a:pt x="1459173" y="239179"/>
                  <a:pt x="1451620" y="248171"/>
                  <a:pt x="1437234" y="250329"/>
                </a:cubicBezTo>
                <a:cubicBezTo>
                  <a:pt x="1435076" y="250329"/>
                  <a:pt x="1430760" y="250329"/>
                  <a:pt x="1424285" y="250329"/>
                </a:cubicBezTo>
                <a:cubicBezTo>
                  <a:pt x="1412776" y="251048"/>
                  <a:pt x="1403784" y="251408"/>
                  <a:pt x="1397310" y="251408"/>
                </a:cubicBezTo>
                <a:cubicBezTo>
                  <a:pt x="1396591" y="249250"/>
                  <a:pt x="1395872" y="246013"/>
                  <a:pt x="1395152" y="241697"/>
                </a:cubicBezTo>
                <a:cubicBezTo>
                  <a:pt x="1392994" y="232346"/>
                  <a:pt x="1391556" y="226231"/>
                  <a:pt x="1390836" y="223354"/>
                </a:cubicBezTo>
                <a:cubicBezTo>
                  <a:pt x="1401626" y="224073"/>
                  <a:pt x="1410258" y="224433"/>
                  <a:pt x="1416732" y="224433"/>
                </a:cubicBezTo>
                <a:cubicBezTo>
                  <a:pt x="1424645" y="223714"/>
                  <a:pt x="1428601" y="220117"/>
                  <a:pt x="1428601" y="213643"/>
                </a:cubicBezTo>
                <a:lnTo>
                  <a:pt x="1428601" y="209327"/>
                </a:lnTo>
                <a:cubicBezTo>
                  <a:pt x="1422847" y="210046"/>
                  <a:pt x="1414934" y="210766"/>
                  <a:pt x="1404863" y="211485"/>
                </a:cubicBezTo>
                <a:cubicBezTo>
                  <a:pt x="1391915" y="212924"/>
                  <a:pt x="1382204" y="214003"/>
                  <a:pt x="1375730" y="214722"/>
                </a:cubicBezTo>
                <a:lnTo>
                  <a:pt x="1371414" y="184510"/>
                </a:lnTo>
                <a:cubicBezTo>
                  <a:pt x="1376450" y="183791"/>
                  <a:pt x="1381125" y="183431"/>
                  <a:pt x="1385441" y="183431"/>
                </a:cubicBezTo>
                <a:cubicBezTo>
                  <a:pt x="1380406" y="174080"/>
                  <a:pt x="1375371" y="165807"/>
                  <a:pt x="1370335" y="158614"/>
                </a:cubicBezTo>
                <a:cubicBezTo>
                  <a:pt x="1371774" y="157894"/>
                  <a:pt x="1373932" y="156456"/>
                  <a:pt x="1376809" y="154298"/>
                </a:cubicBezTo>
                <a:cubicBezTo>
                  <a:pt x="1380406" y="152140"/>
                  <a:pt x="1384722" y="148903"/>
                  <a:pt x="1389757" y="144587"/>
                </a:cubicBezTo>
                <a:lnTo>
                  <a:pt x="1373572" y="144587"/>
                </a:lnTo>
                <a:lnTo>
                  <a:pt x="1373572" y="118691"/>
                </a:lnTo>
                <a:lnTo>
                  <a:pt x="1415653" y="118691"/>
                </a:lnTo>
                <a:cubicBezTo>
                  <a:pt x="1417092" y="117252"/>
                  <a:pt x="1419250" y="115094"/>
                  <a:pt x="1422127" y="112217"/>
                </a:cubicBezTo>
                <a:cubicBezTo>
                  <a:pt x="1425005" y="108620"/>
                  <a:pt x="1427522" y="105743"/>
                  <a:pt x="1429681" y="103585"/>
                </a:cubicBezTo>
                <a:lnTo>
                  <a:pt x="1372493" y="103585"/>
                </a:lnTo>
                <a:lnTo>
                  <a:pt x="1372493" y="76609"/>
                </a:lnTo>
                <a:lnTo>
                  <a:pt x="1415653" y="76609"/>
                </a:lnTo>
                <a:lnTo>
                  <a:pt x="1415653" y="58266"/>
                </a:lnTo>
                <a:lnTo>
                  <a:pt x="1382204" y="58266"/>
                </a:lnTo>
                <a:lnTo>
                  <a:pt x="1382204" y="31291"/>
                </a:lnTo>
                <a:lnTo>
                  <a:pt x="1415653" y="31291"/>
                </a:lnTo>
                <a:close/>
                <a:moveTo>
                  <a:pt x="374415" y="4316"/>
                </a:moveTo>
                <a:lnTo>
                  <a:pt x="415417" y="4316"/>
                </a:lnTo>
                <a:lnTo>
                  <a:pt x="415417" y="199616"/>
                </a:lnTo>
                <a:cubicBezTo>
                  <a:pt x="415417" y="230547"/>
                  <a:pt x="403907" y="247092"/>
                  <a:pt x="380889" y="249250"/>
                </a:cubicBezTo>
                <a:cubicBezTo>
                  <a:pt x="364344" y="249969"/>
                  <a:pt x="347439" y="250329"/>
                  <a:pt x="330175" y="250329"/>
                </a:cubicBezTo>
                <a:cubicBezTo>
                  <a:pt x="328737" y="243136"/>
                  <a:pt x="326219" y="233425"/>
                  <a:pt x="322622" y="221196"/>
                </a:cubicBezTo>
                <a:cubicBezTo>
                  <a:pt x="321903" y="217599"/>
                  <a:pt x="321184" y="214722"/>
                  <a:pt x="320464" y="212564"/>
                </a:cubicBezTo>
                <a:cubicBezTo>
                  <a:pt x="332693" y="214003"/>
                  <a:pt x="344562" y="214722"/>
                  <a:pt x="356072" y="214722"/>
                </a:cubicBezTo>
                <a:cubicBezTo>
                  <a:pt x="368300" y="214722"/>
                  <a:pt x="374415" y="207529"/>
                  <a:pt x="374415" y="193142"/>
                </a:cubicBezTo>
                <a:close/>
                <a:moveTo>
                  <a:pt x="2383706" y="3237"/>
                </a:moveTo>
                <a:lnTo>
                  <a:pt x="2420392" y="3237"/>
                </a:lnTo>
                <a:lnTo>
                  <a:pt x="2420392" y="47476"/>
                </a:lnTo>
                <a:lnTo>
                  <a:pt x="2444130" y="47476"/>
                </a:lnTo>
                <a:lnTo>
                  <a:pt x="2444130" y="80925"/>
                </a:lnTo>
                <a:lnTo>
                  <a:pt x="2420392" y="80925"/>
                </a:lnTo>
                <a:lnTo>
                  <a:pt x="2420392" y="212564"/>
                </a:lnTo>
                <a:cubicBezTo>
                  <a:pt x="2420392" y="237741"/>
                  <a:pt x="2407804" y="250329"/>
                  <a:pt x="2382627" y="250329"/>
                </a:cubicBezTo>
                <a:cubicBezTo>
                  <a:pt x="2367521" y="251048"/>
                  <a:pt x="2351336" y="251408"/>
                  <a:pt x="2334072" y="251408"/>
                </a:cubicBezTo>
                <a:cubicBezTo>
                  <a:pt x="2332633" y="239899"/>
                  <a:pt x="2329756" y="228030"/>
                  <a:pt x="2325440" y="215801"/>
                </a:cubicBezTo>
                <a:cubicBezTo>
                  <a:pt x="2329036" y="215801"/>
                  <a:pt x="2334431" y="215801"/>
                  <a:pt x="2341625" y="215801"/>
                </a:cubicBezTo>
                <a:cubicBezTo>
                  <a:pt x="2350976" y="216520"/>
                  <a:pt x="2358529" y="216880"/>
                  <a:pt x="2364284" y="216880"/>
                </a:cubicBezTo>
                <a:cubicBezTo>
                  <a:pt x="2377232" y="217599"/>
                  <a:pt x="2383706" y="211845"/>
                  <a:pt x="2383706" y="199616"/>
                </a:cubicBezTo>
                <a:lnTo>
                  <a:pt x="2383706" y="80925"/>
                </a:lnTo>
                <a:lnTo>
                  <a:pt x="2309255" y="80925"/>
                </a:lnTo>
                <a:lnTo>
                  <a:pt x="2309255" y="47476"/>
                </a:lnTo>
                <a:lnTo>
                  <a:pt x="2383706" y="47476"/>
                </a:lnTo>
                <a:close/>
                <a:moveTo>
                  <a:pt x="1274304" y="3237"/>
                </a:moveTo>
                <a:lnTo>
                  <a:pt x="1310990" y="3237"/>
                </a:lnTo>
                <a:lnTo>
                  <a:pt x="1310990" y="156456"/>
                </a:lnTo>
                <a:lnTo>
                  <a:pt x="1345518" y="153219"/>
                </a:lnTo>
                <a:lnTo>
                  <a:pt x="1348755" y="185589"/>
                </a:lnTo>
                <a:lnTo>
                  <a:pt x="1310990" y="188826"/>
                </a:lnTo>
                <a:lnTo>
                  <a:pt x="1310990" y="253566"/>
                </a:lnTo>
                <a:lnTo>
                  <a:pt x="1274304" y="253566"/>
                </a:lnTo>
                <a:lnTo>
                  <a:pt x="1274304" y="192063"/>
                </a:lnTo>
                <a:lnTo>
                  <a:pt x="1195537" y="199616"/>
                </a:lnTo>
                <a:lnTo>
                  <a:pt x="1191221" y="167246"/>
                </a:lnTo>
                <a:lnTo>
                  <a:pt x="1274304" y="159693"/>
                </a:lnTo>
                <a:close/>
                <a:moveTo>
                  <a:pt x="2753097" y="2158"/>
                </a:moveTo>
                <a:lnTo>
                  <a:pt x="2784388" y="5395"/>
                </a:lnTo>
                <a:cubicBezTo>
                  <a:pt x="2783669" y="7553"/>
                  <a:pt x="2782950" y="10790"/>
                  <a:pt x="2782230" y="15106"/>
                </a:cubicBezTo>
                <a:cubicBezTo>
                  <a:pt x="2780072" y="23738"/>
                  <a:pt x="2778634" y="30212"/>
                  <a:pt x="2777914" y="34528"/>
                </a:cubicBezTo>
                <a:lnTo>
                  <a:pt x="2818917" y="34528"/>
                </a:lnTo>
                <a:lnTo>
                  <a:pt x="2818917" y="63661"/>
                </a:lnTo>
                <a:lnTo>
                  <a:pt x="2770361" y="63661"/>
                </a:lnTo>
                <a:cubicBezTo>
                  <a:pt x="2766045" y="83803"/>
                  <a:pt x="2761010" y="103585"/>
                  <a:pt x="2755255" y="123007"/>
                </a:cubicBezTo>
                <a:lnTo>
                  <a:pt x="2769282" y="123007"/>
                </a:lnTo>
                <a:lnTo>
                  <a:pt x="2769282" y="79847"/>
                </a:lnTo>
                <a:lnTo>
                  <a:pt x="2799495" y="79847"/>
                </a:lnTo>
                <a:lnTo>
                  <a:pt x="2799495" y="123007"/>
                </a:lnTo>
                <a:lnTo>
                  <a:pt x="2819996" y="123007"/>
                </a:lnTo>
                <a:lnTo>
                  <a:pt x="2819996" y="153219"/>
                </a:lnTo>
                <a:lnTo>
                  <a:pt x="2799495" y="153219"/>
                </a:lnTo>
                <a:lnTo>
                  <a:pt x="2799495" y="175878"/>
                </a:lnTo>
                <a:cubicBezTo>
                  <a:pt x="2806688" y="175159"/>
                  <a:pt x="2813522" y="174799"/>
                  <a:pt x="2819996" y="174799"/>
                </a:cubicBezTo>
                <a:cubicBezTo>
                  <a:pt x="2819996" y="185589"/>
                  <a:pt x="2819996" y="195660"/>
                  <a:pt x="2819996" y="205011"/>
                </a:cubicBezTo>
                <a:cubicBezTo>
                  <a:pt x="2817118" y="205011"/>
                  <a:pt x="2813522" y="205371"/>
                  <a:pt x="2809206" y="206090"/>
                </a:cubicBezTo>
                <a:cubicBezTo>
                  <a:pt x="2804890" y="206090"/>
                  <a:pt x="2801653" y="206090"/>
                  <a:pt x="2799495" y="206090"/>
                </a:cubicBezTo>
                <a:lnTo>
                  <a:pt x="2799495" y="253566"/>
                </a:lnTo>
                <a:lnTo>
                  <a:pt x="2769282" y="253566"/>
                </a:lnTo>
                <a:lnTo>
                  <a:pt x="2769282" y="208248"/>
                </a:lnTo>
                <a:cubicBezTo>
                  <a:pt x="2748422" y="208967"/>
                  <a:pt x="2732596" y="210046"/>
                  <a:pt x="2721806" y="211485"/>
                </a:cubicBezTo>
                <a:lnTo>
                  <a:pt x="2721806" y="179115"/>
                </a:lnTo>
                <a:cubicBezTo>
                  <a:pt x="2726122" y="178396"/>
                  <a:pt x="2734035" y="178036"/>
                  <a:pt x="2745544" y="178036"/>
                </a:cubicBezTo>
                <a:cubicBezTo>
                  <a:pt x="2755615" y="177317"/>
                  <a:pt x="2763528" y="176957"/>
                  <a:pt x="2769282" y="176957"/>
                </a:cubicBezTo>
                <a:lnTo>
                  <a:pt x="2769282" y="153219"/>
                </a:lnTo>
                <a:lnTo>
                  <a:pt x="2723964" y="153219"/>
                </a:lnTo>
                <a:lnTo>
                  <a:pt x="2723964" y="123007"/>
                </a:lnTo>
                <a:cubicBezTo>
                  <a:pt x="2730438" y="102146"/>
                  <a:pt x="2735833" y="82364"/>
                  <a:pt x="2740149" y="63661"/>
                </a:cubicBezTo>
                <a:lnTo>
                  <a:pt x="2721806" y="63661"/>
                </a:lnTo>
                <a:lnTo>
                  <a:pt x="2721806" y="34528"/>
                </a:lnTo>
                <a:lnTo>
                  <a:pt x="2746623" y="34528"/>
                </a:lnTo>
                <a:cubicBezTo>
                  <a:pt x="2748781" y="23738"/>
                  <a:pt x="2750939" y="12948"/>
                  <a:pt x="2753097" y="2158"/>
                </a:cubicBezTo>
                <a:close/>
                <a:moveTo>
                  <a:pt x="927944" y="2158"/>
                </a:moveTo>
                <a:lnTo>
                  <a:pt x="972183" y="2158"/>
                </a:lnTo>
                <a:lnTo>
                  <a:pt x="965709" y="11869"/>
                </a:lnTo>
                <a:cubicBezTo>
                  <a:pt x="988727" y="44239"/>
                  <a:pt x="1024335" y="71574"/>
                  <a:pt x="1072530" y="93874"/>
                </a:cubicBezTo>
                <a:cubicBezTo>
                  <a:pt x="1067495" y="99628"/>
                  <a:pt x="1061021" y="107901"/>
                  <a:pt x="1053108" y="118691"/>
                </a:cubicBezTo>
                <a:cubicBezTo>
                  <a:pt x="1050950" y="120849"/>
                  <a:pt x="1049511" y="122647"/>
                  <a:pt x="1048792" y="124086"/>
                </a:cubicBezTo>
                <a:cubicBezTo>
                  <a:pt x="1035844" y="117612"/>
                  <a:pt x="1023975" y="110418"/>
                  <a:pt x="1013185" y="102506"/>
                </a:cubicBezTo>
                <a:lnTo>
                  <a:pt x="1013185" y="124086"/>
                </a:lnTo>
                <a:lnTo>
                  <a:pt x="963551" y="124086"/>
                </a:lnTo>
                <a:lnTo>
                  <a:pt x="963551" y="149982"/>
                </a:lnTo>
                <a:lnTo>
                  <a:pt x="1040160" y="149982"/>
                </a:lnTo>
                <a:lnTo>
                  <a:pt x="1040160" y="182352"/>
                </a:lnTo>
                <a:lnTo>
                  <a:pt x="963551" y="182352"/>
                </a:lnTo>
                <a:lnTo>
                  <a:pt x="963551" y="213643"/>
                </a:lnTo>
                <a:lnTo>
                  <a:pt x="1060661" y="213643"/>
                </a:lnTo>
                <a:lnTo>
                  <a:pt x="1060661" y="243855"/>
                </a:lnTo>
                <a:lnTo>
                  <a:pt x="827596" y="243855"/>
                </a:lnTo>
                <a:lnTo>
                  <a:pt x="827596" y="213643"/>
                </a:lnTo>
                <a:lnTo>
                  <a:pt x="924707" y="213643"/>
                </a:lnTo>
                <a:lnTo>
                  <a:pt x="924707" y="182352"/>
                </a:lnTo>
                <a:lnTo>
                  <a:pt x="848097" y="182352"/>
                </a:lnTo>
                <a:lnTo>
                  <a:pt x="848097" y="149982"/>
                </a:lnTo>
                <a:lnTo>
                  <a:pt x="924707" y="149982"/>
                </a:lnTo>
                <a:lnTo>
                  <a:pt x="924707" y="124086"/>
                </a:lnTo>
                <a:lnTo>
                  <a:pt x="875072" y="124086"/>
                </a:lnTo>
                <a:lnTo>
                  <a:pt x="875072" y="103585"/>
                </a:lnTo>
                <a:cubicBezTo>
                  <a:pt x="863563" y="111497"/>
                  <a:pt x="851694" y="119410"/>
                  <a:pt x="839465" y="127323"/>
                </a:cubicBezTo>
                <a:cubicBezTo>
                  <a:pt x="834430" y="120129"/>
                  <a:pt x="826517" y="110059"/>
                  <a:pt x="815727" y="97111"/>
                </a:cubicBezTo>
                <a:cubicBezTo>
                  <a:pt x="871116" y="67618"/>
                  <a:pt x="908522" y="35967"/>
                  <a:pt x="927944" y="2158"/>
                </a:cubicBezTo>
                <a:close/>
                <a:moveTo>
                  <a:pt x="96032" y="2158"/>
                </a:moveTo>
                <a:lnTo>
                  <a:pt x="134876" y="2158"/>
                </a:lnTo>
                <a:lnTo>
                  <a:pt x="134876" y="47476"/>
                </a:lnTo>
                <a:lnTo>
                  <a:pt x="230907" y="47476"/>
                </a:lnTo>
                <a:lnTo>
                  <a:pt x="230907" y="192063"/>
                </a:lnTo>
                <a:lnTo>
                  <a:pt x="192063" y="192063"/>
                </a:lnTo>
                <a:lnTo>
                  <a:pt x="192063" y="173720"/>
                </a:lnTo>
                <a:lnTo>
                  <a:pt x="134876" y="173720"/>
                </a:lnTo>
                <a:lnTo>
                  <a:pt x="134876" y="254645"/>
                </a:lnTo>
                <a:lnTo>
                  <a:pt x="96032" y="254645"/>
                </a:lnTo>
                <a:lnTo>
                  <a:pt x="96032" y="173720"/>
                </a:lnTo>
                <a:lnTo>
                  <a:pt x="37765" y="173720"/>
                </a:lnTo>
                <a:lnTo>
                  <a:pt x="37765" y="192063"/>
                </a:lnTo>
                <a:lnTo>
                  <a:pt x="0" y="192063"/>
                </a:lnTo>
                <a:lnTo>
                  <a:pt x="0" y="47476"/>
                </a:lnTo>
                <a:lnTo>
                  <a:pt x="96032" y="47476"/>
                </a:lnTo>
                <a:close/>
                <a:moveTo>
                  <a:pt x="2947318" y="1079"/>
                </a:moveTo>
                <a:cubicBezTo>
                  <a:pt x="2955950" y="10431"/>
                  <a:pt x="2962784" y="18703"/>
                  <a:pt x="2967819" y="25896"/>
                </a:cubicBezTo>
                <a:lnTo>
                  <a:pt x="2951634" y="35607"/>
                </a:lnTo>
                <a:lnTo>
                  <a:pt x="2975372" y="35607"/>
                </a:lnTo>
                <a:lnTo>
                  <a:pt x="2975372" y="63661"/>
                </a:lnTo>
                <a:lnTo>
                  <a:pt x="2913869" y="63661"/>
                </a:lnTo>
                <a:lnTo>
                  <a:pt x="2913869" y="82005"/>
                </a:lnTo>
                <a:lnTo>
                  <a:pt x="2967819" y="82005"/>
                </a:lnTo>
                <a:lnTo>
                  <a:pt x="2967819" y="222275"/>
                </a:lnTo>
                <a:cubicBezTo>
                  <a:pt x="2968538" y="241697"/>
                  <a:pt x="2959187" y="251408"/>
                  <a:pt x="2939765" y="251408"/>
                </a:cubicBezTo>
                <a:cubicBezTo>
                  <a:pt x="2931852" y="251408"/>
                  <a:pt x="2925019" y="251408"/>
                  <a:pt x="2919264" y="251408"/>
                </a:cubicBezTo>
                <a:cubicBezTo>
                  <a:pt x="2919264" y="250689"/>
                  <a:pt x="2919264" y="249610"/>
                  <a:pt x="2919264" y="248171"/>
                </a:cubicBezTo>
                <a:cubicBezTo>
                  <a:pt x="2918545" y="243855"/>
                  <a:pt x="2916746" y="236302"/>
                  <a:pt x="2913869" y="225512"/>
                </a:cubicBezTo>
                <a:cubicBezTo>
                  <a:pt x="2918185" y="225512"/>
                  <a:pt x="2922501" y="225512"/>
                  <a:pt x="2926817" y="225512"/>
                </a:cubicBezTo>
                <a:cubicBezTo>
                  <a:pt x="2933291" y="225512"/>
                  <a:pt x="2936528" y="222635"/>
                  <a:pt x="2936528" y="216880"/>
                </a:cubicBezTo>
                <a:lnTo>
                  <a:pt x="2936528" y="199616"/>
                </a:lnTo>
                <a:lnTo>
                  <a:pt x="2913869" y="199616"/>
                </a:lnTo>
                <a:lnTo>
                  <a:pt x="2913869" y="225512"/>
                </a:lnTo>
                <a:lnTo>
                  <a:pt x="2913869" y="250329"/>
                </a:lnTo>
                <a:lnTo>
                  <a:pt x="2881499" y="250329"/>
                </a:lnTo>
                <a:lnTo>
                  <a:pt x="2881499" y="199616"/>
                </a:lnTo>
                <a:lnTo>
                  <a:pt x="2858840" y="199616"/>
                </a:lnTo>
                <a:lnTo>
                  <a:pt x="2858840" y="253566"/>
                </a:lnTo>
                <a:lnTo>
                  <a:pt x="2827549" y="253566"/>
                </a:lnTo>
                <a:lnTo>
                  <a:pt x="2827549" y="82005"/>
                </a:lnTo>
                <a:lnTo>
                  <a:pt x="2881499" y="82005"/>
                </a:lnTo>
                <a:lnTo>
                  <a:pt x="2881499" y="63661"/>
                </a:lnTo>
                <a:lnTo>
                  <a:pt x="2825391" y="63661"/>
                </a:lnTo>
                <a:lnTo>
                  <a:pt x="2825391" y="35607"/>
                </a:lnTo>
                <a:lnTo>
                  <a:pt x="2881499" y="35607"/>
                </a:lnTo>
                <a:lnTo>
                  <a:pt x="2881499" y="3237"/>
                </a:lnTo>
                <a:lnTo>
                  <a:pt x="2913869" y="3237"/>
                </a:lnTo>
                <a:lnTo>
                  <a:pt x="2913869" y="35607"/>
                </a:lnTo>
                <a:lnTo>
                  <a:pt x="2938686" y="35607"/>
                </a:lnTo>
                <a:cubicBezTo>
                  <a:pt x="2937967" y="34169"/>
                  <a:pt x="2936888" y="32370"/>
                  <a:pt x="2935449" y="30212"/>
                </a:cubicBezTo>
                <a:cubicBezTo>
                  <a:pt x="2932572" y="26616"/>
                  <a:pt x="2928615" y="21580"/>
                  <a:pt x="2923580" y="15106"/>
                </a:cubicBezTo>
                <a:close/>
                <a:moveTo>
                  <a:pt x="1784673" y="1079"/>
                </a:moveTo>
                <a:cubicBezTo>
                  <a:pt x="1786112" y="4676"/>
                  <a:pt x="1788989" y="10790"/>
                  <a:pt x="1793305" y="19422"/>
                </a:cubicBezTo>
                <a:cubicBezTo>
                  <a:pt x="1790428" y="13668"/>
                  <a:pt x="1791147" y="15466"/>
                  <a:pt x="1795463" y="24817"/>
                </a:cubicBezTo>
                <a:lnTo>
                  <a:pt x="1895810" y="24817"/>
                </a:lnTo>
                <a:lnTo>
                  <a:pt x="1895810" y="52871"/>
                </a:lnTo>
                <a:lnTo>
                  <a:pt x="1831070" y="52871"/>
                </a:lnTo>
                <a:cubicBezTo>
                  <a:pt x="1833947" y="55029"/>
                  <a:pt x="1838263" y="57907"/>
                  <a:pt x="1844018" y="61503"/>
                </a:cubicBezTo>
                <a:cubicBezTo>
                  <a:pt x="1862721" y="73013"/>
                  <a:pt x="1878906" y="83443"/>
                  <a:pt x="1892573" y="92795"/>
                </a:cubicBezTo>
                <a:lnTo>
                  <a:pt x="1868835" y="112217"/>
                </a:lnTo>
                <a:cubicBezTo>
                  <a:pt x="1867396" y="110778"/>
                  <a:pt x="1864519" y="108980"/>
                  <a:pt x="1860203" y="106822"/>
                </a:cubicBezTo>
                <a:cubicBezTo>
                  <a:pt x="1855168" y="103225"/>
                  <a:pt x="1851571" y="100348"/>
                  <a:pt x="1849413" y="98190"/>
                </a:cubicBezTo>
                <a:cubicBezTo>
                  <a:pt x="1764531" y="100348"/>
                  <a:pt x="1706265" y="102865"/>
                  <a:pt x="1674614" y="105743"/>
                </a:cubicBezTo>
                <a:lnTo>
                  <a:pt x="1663824" y="79847"/>
                </a:lnTo>
                <a:cubicBezTo>
                  <a:pt x="1680369" y="72653"/>
                  <a:pt x="1696554" y="63661"/>
                  <a:pt x="1712380" y="52871"/>
                </a:cubicBezTo>
                <a:lnTo>
                  <a:pt x="1650876" y="52871"/>
                </a:lnTo>
                <a:lnTo>
                  <a:pt x="1650876" y="24817"/>
                </a:lnTo>
                <a:lnTo>
                  <a:pt x="1754461" y="24817"/>
                </a:lnTo>
                <a:cubicBezTo>
                  <a:pt x="1750864" y="18343"/>
                  <a:pt x="1747987" y="11869"/>
                  <a:pt x="1745829" y="5395"/>
                </a:cubicBezTo>
                <a:close/>
                <a:moveTo>
                  <a:pt x="668983" y="0"/>
                </a:moveTo>
                <a:cubicBezTo>
                  <a:pt x="671141" y="2878"/>
                  <a:pt x="674378" y="8273"/>
                  <a:pt x="678694" y="16185"/>
                </a:cubicBezTo>
                <a:cubicBezTo>
                  <a:pt x="685168" y="26256"/>
                  <a:pt x="690203" y="34169"/>
                  <a:pt x="693800" y="39923"/>
                </a:cubicBezTo>
                <a:lnTo>
                  <a:pt x="675457" y="48555"/>
                </a:lnTo>
                <a:lnTo>
                  <a:pt x="706748" y="48555"/>
                </a:lnTo>
                <a:cubicBezTo>
                  <a:pt x="713222" y="39923"/>
                  <a:pt x="721494" y="27695"/>
                  <a:pt x="731565" y="11869"/>
                </a:cubicBezTo>
                <a:cubicBezTo>
                  <a:pt x="733723" y="8273"/>
                  <a:pt x="735521" y="5755"/>
                  <a:pt x="736960" y="4316"/>
                </a:cubicBezTo>
                <a:lnTo>
                  <a:pt x="771488" y="23738"/>
                </a:lnTo>
                <a:cubicBezTo>
                  <a:pt x="769330" y="26616"/>
                  <a:pt x="766093" y="30572"/>
                  <a:pt x="761777" y="35607"/>
                </a:cubicBezTo>
                <a:cubicBezTo>
                  <a:pt x="756742" y="41362"/>
                  <a:pt x="753145" y="45678"/>
                  <a:pt x="750987" y="48555"/>
                </a:cubicBezTo>
                <a:lnTo>
                  <a:pt x="787673" y="48555"/>
                </a:lnTo>
                <a:lnTo>
                  <a:pt x="787673" y="112217"/>
                </a:lnTo>
                <a:lnTo>
                  <a:pt x="752066" y="112217"/>
                </a:lnTo>
                <a:lnTo>
                  <a:pt x="752066" y="79847"/>
                </a:lnTo>
                <a:lnTo>
                  <a:pt x="583741" y="79847"/>
                </a:lnTo>
                <a:lnTo>
                  <a:pt x="583741" y="112217"/>
                </a:lnTo>
                <a:lnTo>
                  <a:pt x="548134" y="112217"/>
                </a:lnTo>
                <a:lnTo>
                  <a:pt x="548134" y="48555"/>
                </a:lnTo>
                <a:lnTo>
                  <a:pt x="590215" y="48555"/>
                </a:lnTo>
                <a:cubicBezTo>
                  <a:pt x="583022" y="38485"/>
                  <a:pt x="575469" y="29133"/>
                  <a:pt x="567556" y="20501"/>
                </a:cubicBezTo>
                <a:lnTo>
                  <a:pt x="594531" y="2158"/>
                </a:lnTo>
                <a:cubicBezTo>
                  <a:pt x="605321" y="13668"/>
                  <a:pt x="616111" y="26616"/>
                  <a:pt x="626901" y="41002"/>
                </a:cubicBezTo>
                <a:lnTo>
                  <a:pt x="615032" y="48555"/>
                </a:lnTo>
                <a:lnTo>
                  <a:pt x="658193" y="48555"/>
                </a:lnTo>
                <a:cubicBezTo>
                  <a:pt x="655315" y="43520"/>
                  <a:pt x="650999" y="36327"/>
                  <a:pt x="645245" y="26975"/>
                </a:cubicBezTo>
                <a:cubicBezTo>
                  <a:pt x="641648" y="21221"/>
                  <a:pt x="639130" y="16905"/>
                  <a:pt x="637692" y="1402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kumimoji="1" lang="zh-CN" altLang="en-US" sz="2200" b="0" dirty="0">
              <a:solidFill>
                <a:schemeClr val="bg1"/>
              </a:solidFill>
              <a:latin typeface="方正兰亭粗黑简体" panose="02000000000000000000" pitchFamily="2" charset="-122"/>
              <a:ea typeface="方正兰亭粗黑简体" panose="02000000000000000000" pitchFamily="2" charset="-122"/>
            </a:endParaRPr>
          </a:p>
        </p:txBody>
      </p:sp>
      <p:pic>
        <p:nvPicPr>
          <p:cNvPr id="7" name="图片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0" y="0"/>
            <a:ext cx="12192000" cy="762000"/>
          </a:xfrm>
          <a:prstGeom prst="rect">
            <a:avLst/>
          </a:prstGeom>
          <a:ln>
            <a:noFill/>
          </a:ln>
          <a:effectLst>
            <a:outerShdw blurRad="292100" dist="139700" dir="5400000" algn="tl" rotWithShape="0">
              <a:srgbClr val="333333">
                <a:alpha val="65000"/>
              </a:srgbClr>
            </a:outerShdw>
          </a:effectLst>
        </p:spPr>
      </p:pic>
      <p:sp>
        <p:nvSpPr>
          <p:cNvPr id="16" name="矩形 15"/>
          <p:cNvSpPr/>
          <p:nvPr userDrawn="1"/>
        </p:nvSpPr>
        <p:spPr>
          <a:xfrm>
            <a:off x="1449421" y="126460"/>
            <a:ext cx="3618690" cy="505838"/>
          </a:xfrm>
          <a:prstGeom prst="rect">
            <a:avLst/>
          </a:prstGeom>
          <a:solidFill>
            <a:srgbClr val="006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p:cNvSpPr txBox="1"/>
          <p:nvPr userDrawn="1"/>
        </p:nvSpPr>
        <p:spPr>
          <a:xfrm>
            <a:off x="1580741" y="252464"/>
            <a:ext cx="3253755" cy="256803"/>
          </a:xfrm>
          <a:custGeom>
            <a:avLst/>
            <a:gdLst/>
            <a:ahLst/>
            <a:cxnLst/>
            <a:rect l="l" t="t" r="r" b="b"/>
            <a:pathLst>
              <a:path w="3253755" h="256803">
                <a:moveTo>
                  <a:pt x="1471492" y="205550"/>
                </a:moveTo>
                <a:cubicBezTo>
                  <a:pt x="1472391" y="205550"/>
                  <a:pt x="1470323" y="205730"/>
                  <a:pt x="1465288" y="206090"/>
                </a:cubicBezTo>
                <a:lnTo>
                  <a:pt x="1468990" y="205667"/>
                </a:lnTo>
                <a:close/>
                <a:moveTo>
                  <a:pt x="1712380" y="173720"/>
                </a:moveTo>
                <a:lnTo>
                  <a:pt x="1712380" y="187747"/>
                </a:lnTo>
                <a:lnTo>
                  <a:pt x="1834307" y="187747"/>
                </a:lnTo>
                <a:lnTo>
                  <a:pt x="1834307" y="173720"/>
                </a:lnTo>
                <a:close/>
                <a:moveTo>
                  <a:pt x="2913869" y="154298"/>
                </a:moveTo>
                <a:lnTo>
                  <a:pt x="2913869" y="175878"/>
                </a:lnTo>
                <a:lnTo>
                  <a:pt x="2936528" y="175878"/>
                </a:lnTo>
                <a:lnTo>
                  <a:pt x="2936528" y="154298"/>
                </a:lnTo>
                <a:close/>
                <a:moveTo>
                  <a:pt x="2858840" y="154298"/>
                </a:moveTo>
                <a:lnTo>
                  <a:pt x="2858840" y="175878"/>
                </a:lnTo>
                <a:lnTo>
                  <a:pt x="2881499" y="175878"/>
                </a:lnTo>
                <a:lnTo>
                  <a:pt x="2881499" y="154298"/>
                </a:lnTo>
                <a:close/>
                <a:moveTo>
                  <a:pt x="3171751" y="146745"/>
                </a:moveTo>
                <a:lnTo>
                  <a:pt x="3207358" y="146745"/>
                </a:lnTo>
                <a:lnTo>
                  <a:pt x="3207358" y="158614"/>
                </a:lnTo>
                <a:lnTo>
                  <a:pt x="3253755" y="158614"/>
                </a:lnTo>
                <a:lnTo>
                  <a:pt x="3253755" y="189905"/>
                </a:lnTo>
                <a:lnTo>
                  <a:pt x="3207358" y="189905"/>
                </a:lnTo>
                <a:lnTo>
                  <a:pt x="3207358" y="211485"/>
                </a:lnTo>
                <a:cubicBezTo>
                  <a:pt x="3207358" y="236662"/>
                  <a:pt x="3192971" y="249969"/>
                  <a:pt x="3164198" y="251408"/>
                </a:cubicBezTo>
                <a:cubicBezTo>
                  <a:pt x="3150530" y="251408"/>
                  <a:pt x="3136503" y="251408"/>
                  <a:pt x="3122117" y="251408"/>
                </a:cubicBezTo>
                <a:cubicBezTo>
                  <a:pt x="3119239" y="238460"/>
                  <a:pt x="3116002" y="227670"/>
                  <a:pt x="3112406" y="219038"/>
                </a:cubicBezTo>
                <a:cubicBezTo>
                  <a:pt x="3114564" y="219038"/>
                  <a:pt x="3117081" y="219398"/>
                  <a:pt x="3119959" y="220117"/>
                </a:cubicBezTo>
                <a:cubicBezTo>
                  <a:pt x="3134345" y="220836"/>
                  <a:pt x="3144776" y="221196"/>
                  <a:pt x="3151250" y="221196"/>
                </a:cubicBezTo>
                <a:cubicBezTo>
                  <a:pt x="3164917" y="221196"/>
                  <a:pt x="3171751" y="214722"/>
                  <a:pt x="3171751" y="201774"/>
                </a:cubicBezTo>
                <a:lnTo>
                  <a:pt x="3171751" y="189905"/>
                </a:lnTo>
                <a:lnTo>
                  <a:pt x="3078957" y="189905"/>
                </a:lnTo>
                <a:cubicBezTo>
                  <a:pt x="3080395" y="191344"/>
                  <a:pt x="3082913" y="193502"/>
                  <a:pt x="3086510" y="196379"/>
                </a:cubicBezTo>
                <a:cubicBezTo>
                  <a:pt x="3089387" y="198537"/>
                  <a:pt x="3094782" y="203213"/>
                  <a:pt x="3102695" y="210406"/>
                </a:cubicBezTo>
                <a:lnTo>
                  <a:pt x="3081115" y="231986"/>
                </a:lnTo>
                <a:cubicBezTo>
                  <a:pt x="3068886" y="221915"/>
                  <a:pt x="3056297" y="210406"/>
                  <a:pt x="3043349" y="197458"/>
                </a:cubicBezTo>
                <a:lnTo>
                  <a:pt x="3050902" y="189905"/>
                </a:lnTo>
                <a:lnTo>
                  <a:pt x="2998031" y="189905"/>
                </a:lnTo>
                <a:lnTo>
                  <a:pt x="2998031" y="158614"/>
                </a:lnTo>
                <a:lnTo>
                  <a:pt x="3171751" y="158614"/>
                </a:lnTo>
                <a:close/>
                <a:moveTo>
                  <a:pt x="1432918" y="144587"/>
                </a:moveTo>
                <a:cubicBezTo>
                  <a:pt x="1419969" y="158973"/>
                  <a:pt x="1406302" y="171562"/>
                  <a:pt x="1391915" y="182352"/>
                </a:cubicBezTo>
                <a:cubicBezTo>
                  <a:pt x="1391915" y="182352"/>
                  <a:pt x="1404144" y="181633"/>
                  <a:pt x="1428601" y="180194"/>
                </a:cubicBezTo>
                <a:lnTo>
                  <a:pt x="1428601" y="160772"/>
                </a:lnTo>
                <a:lnTo>
                  <a:pt x="1452340" y="144587"/>
                </a:lnTo>
                <a:close/>
                <a:moveTo>
                  <a:pt x="1712380" y="138113"/>
                </a:moveTo>
                <a:lnTo>
                  <a:pt x="1712380" y="152140"/>
                </a:lnTo>
                <a:lnTo>
                  <a:pt x="1834307" y="152140"/>
                </a:lnTo>
                <a:lnTo>
                  <a:pt x="1834307" y="138113"/>
                </a:lnTo>
                <a:close/>
                <a:moveTo>
                  <a:pt x="1676772" y="113296"/>
                </a:moveTo>
                <a:lnTo>
                  <a:pt x="1870993" y="113296"/>
                </a:lnTo>
                <a:lnTo>
                  <a:pt x="1870993" y="215801"/>
                </a:lnTo>
                <a:cubicBezTo>
                  <a:pt x="1870993" y="236662"/>
                  <a:pt x="1860563" y="248171"/>
                  <a:pt x="1839702" y="250329"/>
                </a:cubicBezTo>
                <a:cubicBezTo>
                  <a:pt x="1824596" y="251768"/>
                  <a:pt x="1809490" y="252487"/>
                  <a:pt x="1794384" y="252487"/>
                </a:cubicBezTo>
                <a:cubicBezTo>
                  <a:pt x="1792945" y="247452"/>
                  <a:pt x="1790787" y="239899"/>
                  <a:pt x="1787910" y="229828"/>
                </a:cubicBezTo>
                <a:cubicBezTo>
                  <a:pt x="1787191" y="226951"/>
                  <a:pt x="1786471" y="224793"/>
                  <a:pt x="1785752" y="223354"/>
                </a:cubicBezTo>
                <a:cubicBezTo>
                  <a:pt x="1798700" y="224073"/>
                  <a:pt x="1810209" y="224433"/>
                  <a:pt x="1820280" y="224433"/>
                </a:cubicBezTo>
                <a:cubicBezTo>
                  <a:pt x="1829631" y="224433"/>
                  <a:pt x="1834307" y="219398"/>
                  <a:pt x="1834307" y="209327"/>
                </a:cubicBezTo>
                <a:lnTo>
                  <a:pt x="1712380" y="209327"/>
                </a:lnTo>
                <a:lnTo>
                  <a:pt x="1712380" y="252487"/>
                </a:lnTo>
                <a:lnTo>
                  <a:pt x="1676772" y="252487"/>
                </a:lnTo>
                <a:close/>
                <a:moveTo>
                  <a:pt x="2913869" y="107901"/>
                </a:moveTo>
                <a:lnTo>
                  <a:pt x="2913869" y="130560"/>
                </a:lnTo>
                <a:lnTo>
                  <a:pt x="2936528" y="130560"/>
                </a:lnTo>
                <a:lnTo>
                  <a:pt x="2936528" y="107901"/>
                </a:lnTo>
                <a:close/>
                <a:moveTo>
                  <a:pt x="2858840" y="107901"/>
                </a:moveTo>
                <a:lnTo>
                  <a:pt x="2858840" y="130560"/>
                </a:lnTo>
                <a:lnTo>
                  <a:pt x="2881499" y="130560"/>
                </a:lnTo>
                <a:lnTo>
                  <a:pt x="2881499" y="107901"/>
                </a:lnTo>
                <a:close/>
                <a:moveTo>
                  <a:pt x="596689" y="98190"/>
                </a:moveTo>
                <a:lnTo>
                  <a:pt x="741276" y="98190"/>
                </a:lnTo>
                <a:lnTo>
                  <a:pt x="741276" y="129481"/>
                </a:lnTo>
                <a:lnTo>
                  <a:pt x="697037" y="158614"/>
                </a:lnTo>
                <a:lnTo>
                  <a:pt x="791989" y="158614"/>
                </a:lnTo>
                <a:lnTo>
                  <a:pt x="791989" y="189905"/>
                </a:lnTo>
                <a:lnTo>
                  <a:pt x="692721" y="189905"/>
                </a:lnTo>
                <a:lnTo>
                  <a:pt x="692721" y="216880"/>
                </a:lnTo>
                <a:cubicBezTo>
                  <a:pt x="692721" y="239179"/>
                  <a:pt x="680852" y="250689"/>
                  <a:pt x="657114" y="251408"/>
                </a:cubicBezTo>
                <a:cubicBezTo>
                  <a:pt x="640569" y="252127"/>
                  <a:pt x="625103" y="252487"/>
                  <a:pt x="610716" y="252487"/>
                </a:cubicBezTo>
                <a:cubicBezTo>
                  <a:pt x="608558" y="240258"/>
                  <a:pt x="605681" y="229468"/>
                  <a:pt x="602084" y="220117"/>
                </a:cubicBezTo>
                <a:cubicBezTo>
                  <a:pt x="615032" y="220836"/>
                  <a:pt x="626901" y="221196"/>
                  <a:pt x="637692" y="221196"/>
                </a:cubicBezTo>
                <a:cubicBezTo>
                  <a:pt x="649920" y="221196"/>
                  <a:pt x="656035" y="216161"/>
                  <a:pt x="656035" y="206090"/>
                </a:cubicBezTo>
                <a:lnTo>
                  <a:pt x="656035" y="189905"/>
                </a:lnTo>
                <a:lnTo>
                  <a:pt x="543818" y="189905"/>
                </a:lnTo>
                <a:lnTo>
                  <a:pt x="543818" y="158614"/>
                </a:lnTo>
                <a:lnTo>
                  <a:pt x="656035" y="158614"/>
                </a:lnTo>
                <a:lnTo>
                  <a:pt x="656035" y="152140"/>
                </a:lnTo>
                <a:lnTo>
                  <a:pt x="690563" y="129481"/>
                </a:lnTo>
                <a:lnTo>
                  <a:pt x="596689" y="129481"/>
                </a:lnTo>
                <a:close/>
                <a:moveTo>
                  <a:pt x="2326519" y="96032"/>
                </a:moveTo>
                <a:cubicBezTo>
                  <a:pt x="2342344" y="117612"/>
                  <a:pt x="2357810" y="138472"/>
                  <a:pt x="2372916" y="158614"/>
                </a:cubicBezTo>
                <a:lnTo>
                  <a:pt x="2342704" y="178036"/>
                </a:lnTo>
                <a:cubicBezTo>
                  <a:pt x="2329756" y="156456"/>
                  <a:pt x="2315369" y="135235"/>
                  <a:pt x="2299544" y="114375"/>
                </a:cubicBezTo>
                <a:close/>
                <a:moveTo>
                  <a:pt x="1220354" y="86321"/>
                </a:moveTo>
                <a:cubicBezTo>
                  <a:pt x="1235460" y="97830"/>
                  <a:pt x="1250206" y="110059"/>
                  <a:pt x="1264593" y="123007"/>
                </a:cubicBezTo>
                <a:lnTo>
                  <a:pt x="1239776" y="146745"/>
                </a:lnTo>
                <a:cubicBezTo>
                  <a:pt x="1228986" y="133797"/>
                  <a:pt x="1215318" y="121208"/>
                  <a:pt x="1198774" y="108980"/>
                </a:cubicBezTo>
                <a:close/>
                <a:moveTo>
                  <a:pt x="134876" y="83084"/>
                </a:moveTo>
                <a:lnTo>
                  <a:pt x="134876" y="138113"/>
                </a:lnTo>
                <a:lnTo>
                  <a:pt x="192063" y="138113"/>
                </a:lnTo>
                <a:lnTo>
                  <a:pt x="192063" y="83084"/>
                </a:lnTo>
                <a:close/>
                <a:moveTo>
                  <a:pt x="37765" y="83084"/>
                </a:moveTo>
                <a:lnTo>
                  <a:pt x="37765" y="138113"/>
                </a:lnTo>
                <a:lnTo>
                  <a:pt x="96032" y="138113"/>
                </a:lnTo>
                <a:lnTo>
                  <a:pt x="96032" y="83084"/>
                </a:lnTo>
                <a:close/>
                <a:moveTo>
                  <a:pt x="1546213" y="75530"/>
                </a:moveTo>
                <a:cubicBezTo>
                  <a:pt x="1546213" y="76969"/>
                  <a:pt x="1545494" y="78768"/>
                  <a:pt x="1544055" y="80926"/>
                </a:cubicBezTo>
                <a:cubicBezTo>
                  <a:pt x="1543336" y="83803"/>
                  <a:pt x="1542616" y="85961"/>
                  <a:pt x="1541897" y="87400"/>
                </a:cubicBezTo>
                <a:cubicBezTo>
                  <a:pt x="1545494" y="112576"/>
                  <a:pt x="1551968" y="134876"/>
                  <a:pt x="1561319" y="154298"/>
                </a:cubicBezTo>
                <a:cubicBezTo>
                  <a:pt x="1572109" y="131998"/>
                  <a:pt x="1578583" y="105743"/>
                  <a:pt x="1580741" y="75530"/>
                </a:cubicBezTo>
                <a:close/>
                <a:moveTo>
                  <a:pt x="473683" y="60424"/>
                </a:moveTo>
                <a:cubicBezTo>
                  <a:pt x="490228" y="97830"/>
                  <a:pt x="506053" y="137034"/>
                  <a:pt x="521159" y="178036"/>
                </a:cubicBezTo>
                <a:lnTo>
                  <a:pt x="481236" y="194221"/>
                </a:lnTo>
                <a:cubicBezTo>
                  <a:pt x="466130" y="149622"/>
                  <a:pt x="451743" y="108980"/>
                  <a:pt x="438076" y="72293"/>
                </a:cubicBezTo>
                <a:close/>
                <a:moveTo>
                  <a:pt x="304279" y="60424"/>
                </a:moveTo>
                <a:lnTo>
                  <a:pt x="342044" y="70135"/>
                </a:lnTo>
                <a:cubicBezTo>
                  <a:pt x="330535" y="115454"/>
                  <a:pt x="317587" y="157535"/>
                  <a:pt x="303200" y="196379"/>
                </a:cubicBezTo>
                <a:cubicBezTo>
                  <a:pt x="297446" y="194221"/>
                  <a:pt x="289533" y="191344"/>
                  <a:pt x="279462" y="187747"/>
                </a:cubicBezTo>
                <a:cubicBezTo>
                  <a:pt x="272269" y="184870"/>
                  <a:pt x="267234" y="182712"/>
                  <a:pt x="264356" y="181273"/>
                </a:cubicBezTo>
                <a:cubicBezTo>
                  <a:pt x="279462" y="142429"/>
                  <a:pt x="292770" y="102146"/>
                  <a:pt x="304279" y="60424"/>
                </a:cubicBezTo>
                <a:close/>
                <a:moveTo>
                  <a:pt x="1446945" y="58266"/>
                </a:moveTo>
                <a:lnTo>
                  <a:pt x="1446945" y="76609"/>
                </a:lnTo>
                <a:lnTo>
                  <a:pt x="1453419" y="76609"/>
                </a:lnTo>
                <a:cubicBezTo>
                  <a:pt x="1459173" y="70855"/>
                  <a:pt x="1464209" y="64740"/>
                  <a:pt x="1468525" y="58266"/>
                </a:cubicBezTo>
                <a:close/>
                <a:moveTo>
                  <a:pt x="1759856" y="52871"/>
                </a:moveTo>
                <a:cubicBezTo>
                  <a:pt x="1745469" y="60784"/>
                  <a:pt x="1732161" y="69056"/>
                  <a:pt x="1719933" y="77688"/>
                </a:cubicBezTo>
                <a:cubicBezTo>
                  <a:pt x="1742951" y="76250"/>
                  <a:pt x="1774242" y="75171"/>
                  <a:pt x="1813806" y="74451"/>
                </a:cubicBezTo>
                <a:cubicBezTo>
                  <a:pt x="1812367" y="73013"/>
                  <a:pt x="1809850" y="70855"/>
                  <a:pt x="1806253" y="67977"/>
                </a:cubicBezTo>
                <a:cubicBezTo>
                  <a:pt x="1802656" y="65819"/>
                  <a:pt x="1799779" y="64021"/>
                  <a:pt x="1797621" y="62582"/>
                </a:cubicBezTo>
                <a:lnTo>
                  <a:pt x="1809490" y="52871"/>
                </a:lnTo>
                <a:close/>
                <a:moveTo>
                  <a:pt x="3057376" y="43160"/>
                </a:moveTo>
                <a:lnTo>
                  <a:pt x="3057376" y="61503"/>
                </a:lnTo>
                <a:lnTo>
                  <a:pt x="3180383" y="61503"/>
                </a:lnTo>
                <a:lnTo>
                  <a:pt x="3180383" y="43160"/>
                </a:lnTo>
                <a:close/>
                <a:moveTo>
                  <a:pt x="944129" y="38844"/>
                </a:moveTo>
                <a:cubicBezTo>
                  <a:pt x="930461" y="56828"/>
                  <a:pt x="913197" y="74092"/>
                  <a:pt x="892336" y="90637"/>
                </a:cubicBezTo>
                <a:lnTo>
                  <a:pt x="995921" y="90637"/>
                </a:lnTo>
                <a:cubicBezTo>
                  <a:pt x="973621" y="73372"/>
                  <a:pt x="956357" y="56108"/>
                  <a:pt x="944129" y="38844"/>
                </a:cubicBezTo>
                <a:close/>
                <a:moveTo>
                  <a:pt x="2191643" y="22659"/>
                </a:moveTo>
                <a:lnTo>
                  <a:pt x="2302781" y="22659"/>
                </a:lnTo>
                <a:lnTo>
                  <a:pt x="2302781" y="56108"/>
                </a:lnTo>
                <a:cubicBezTo>
                  <a:pt x="2299184" y="87759"/>
                  <a:pt x="2290552" y="120129"/>
                  <a:pt x="2276885" y="153219"/>
                </a:cubicBezTo>
                <a:cubicBezTo>
                  <a:pt x="2280481" y="158973"/>
                  <a:pt x="2286236" y="167965"/>
                  <a:pt x="2294149" y="180194"/>
                </a:cubicBezTo>
                <a:cubicBezTo>
                  <a:pt x="2302781" y="193142"/>
                  <a:pt x="2309614" y="203213"/>
                  <a:pt x="2314650" y="210406"/>
                </a:cubicBezTo>
                <a:lnTo>
                  <a:pt x="2282280" y="228749"/>
                </a:lnTo>
                <a:cubicBezTo>
                  <a:pt x="2273648" y="216520"/>
                  <a:pt x="2265375" y="203213"/>
                  <a:pt x="2257462" y="188826"/>
                </a:cubicBezTo>
                <a:cubicBezTo>
                  <a:pt x="2243076" y="211125"/>
                  <a:pt x="2226171" y="230547"/>
                  <a:pt x="2206749" y="247092"/>
                </a:cubicBezTo>
                <a:cubicBezTo>
                  <a:pt x="2206030" y="245653"/>
                  <a:pt x="2204591" y="243136"/>
                  <a:pt x="2202433" y="239539"/>
                </a:cubicBezTo>
                <a:cubicBezTo>
                  <a:pt x="2196679" y="228749"/>
                  <a:pt x="2191643" y="220477"/>
                  <a:pt x="2187327" y="214722"/>
                </a:cubicBezTo>
                <a:cubicBezTo>
                  <a:pt x="2206030" y="200335"/>
                  <a:pt x="2222575" y="180913"/>
                  <a:pt x="2236961" y="156456"/>
                </a:cubicBezTo>
                <a:cubicBezTo>
                  <a:pt x="2219697" y="127682"/>
                  <a:pt x="2204591" y="103585"/>
                  <a:pt x="2191643" y="84163"/>
                </a:cubicBezTo>
                <a:lnTo>
                  <a:pt x="2219697" y="66898"/>
                </a:lnTo>
                <a:cubicBezTo>
                  <a:pt x="2224733" y="73372"/>
                  <a:pt x="2231926" y="84163"/>
                  <a:pt x="2241277" y="99269"/>
                </a:cubicBezTo>
                <a:cubicBezTo>
                  <a:pt x="2246313" y="107901"/>
                  <a:pt x="2250269" y="114375"/>
                  <a:pt x="2253146" y="118691"/>
                </a:cubicBezTo>
                <a:cubicBezTo>
                  <a:pt x="2260340" y="99269"/>
                  <a:pt x="2265015" y="78408"/>
                  <a:pt x="2267174" y="56108"/>
                </a:cubicBezTo>
                <a:lnTo>
                  <a:pt x="2191643" y="56108"/>
                </a:lnTo>
                <a:close/>
                <a:moveTo>
                  <a:pt x="1228986" y="21580"/>
                </a:moveTo>
                <a:cubicBezTo>
                  <a:pt x="1242653" y="30932"/>
                  <a:pt x="1257040" y="42801"/>
                  <a:pt x="1272146" y="57187"/>
                </a:cubicBezTo>
                <a:lnTo>
                  <a:pt x="1248408" y="80926"/>
                </a:lnTo>
                <a:cubicBezTo>
                  <a:pt x="1236179" y="67258"/>
                  <a:pt x="1222512" y="54670"/>
                  <a:pt x="1207406" y="43160"/>
                </a:cubicBezTo>
                <a:close/>
                <a:moveTo>
                  <a:pt x="3021769" y="11869"/>
                </a:moveTo>
                <a:lnTo>
                  <a:pt x="3215990" y="11869"/>
                </a:lnTo>
                <a:lnTo>
                  <a:pt x="3215990" y="90637"/>
                </a:lnTo>
                <a:lnTo>
                  <a:pt x="3057376" y="90637"/>
                </a:lnTo>
                <a:lnTo>
                  <a:pt x="3057376" y="92795"/>
                </a:lnTo>
                <a:cubicBezTo>
                  <a:pt x="3057376" y="104304"/>
                  <a:pt x="3064210" y="110059"/>
                  <a:pt x="3077878" y="110059"/>
                </a:cubicBezTo>
                <a:lnTo>
                  <a:pt x="3193331" y="110059"/>
                </a:lnTo>
                <a:cubicBezTo>
                  <a:pt x="3207718" y="110059"/>
                  <a:pt x="3215990" y="104664"/>
                  <a:pt x="3218148" y="93874"/>
                </a:cubicBezTo>
                <a:cubicBezTo>
                  <a:pt x="3219587" y="86680"/>
                  <a:pt x="3220666" y="78768"/>
                  <a:pt x="3221385" y="70135"/>
                </a:cubicBezTo>
                <a:cubicBezTo>
                  <a:pt x="3222104" y="70135"/>
                  <a:pt x="3223903" y="70855"/>
                  <a:pt x="3226780" y="72293"/>
                </a:cubicBezTo>
                <a:cubicBezTo>
                  <a:pt x="3236132" y="75890"/>
                  <a:pt x="3244764" y="78408"/>
                  <a:pt x="3252676" y="79847"/>
                </a:cubicBezTo>
                <a:cubicBezTo>
                  <a:pt x="3251238" y="88479"/>
                  <a:pt x="3248720" y="98909"/>
                  <a:pt x="3245123" y="111138"/>
                </a:cubicBezTo>
                <a:cubicBezTo>
                  <a:pt x="3244404" y="114015"/>
                  <a:pt x="3244044" y="115813"/>
                  <a:pt x="3244044" y="116533"/>
                </a:cubicBezTo>
                <a:cubicBezTo>
                  <a:pt x="3239728" y="133077"/>
                  <a:pt x="3224622" y="141350"/>
                  <a:pt x="3198726" y="141350"/>
                </a:cubicBezTo>
                <a:lnTo>
                  <a:pt x="3071403" y="141350"/>
                </a:lnTo>
                <a:cubicBezTo>
                  <a:pt x="3038314" y="141350"/>
                  <a:pt x="3021769" y="126244"/>
                  <a:pt x="3021769" y="96032"/>
                </a:cubicBezTo>
                <a:close/>
                <a:moveTo>
                  <a:pt x="2540161" y="11869"/>
                </a:moveTo>
                <a:lnTo>
                  <a:pt x="2567137" y="11869"/>
                </a:lnTo>
                <a:lnTo>
                  <a:pt x="2567137" y="239539"/>
                </a:lnTo>
                <a:lnTo>
                  <a:pt x="2531529" y="239539"/>
                </a:lnTo>
                <a:cubicBezTo>
                  <a:pt x="2531529" y="196379"/>
                  <a:pt x="2531529" y="141709"/>
                  <a:pt x="2531529" y="75530"/>
                </a:cubicBezTo>
                <a:cubicBezTo>
                  <a:pt x="2517862" y="85601"/>
                  <a:pt x="2498799" y="95672"/>
                  <a:pt x="2474342" y="105743"/>
                </a:cubicBezTo>
                <a:lnTo>
                  <a:pt x="2474342" y="71214"/>
                </a:lnTo>
                <a:cubicBezTo>
                  <a:pt x="2510309" y="56108"/>
                  <a:pt x="2532249" y="36327"/>
                  <a:pt x="2540161" y="11869"/>
                </a:cubicBezTo>
                <a:close/>
                <a:moveTo>
                  <a:pt x="2092486" y="11869"/>
                </a:moveTo>
                <a:lnTo>
                  <a:pt x="2119462" y="11869"/>
                </a:lnTo>
                <a:lnTo>
                  <a:pt x="2119462" y="239539"/>
                </a:lnTo>
                <a:lnTo>
                  <a:pt x="2083854" y="239539"/>
                </a:lnTo>
                <a:cubicBezTo>
                  <a:pt x="2083854" y="196379"/>
                  <a:pt x="2083854" y="141709"/>
                  <a:pt x="2083854" y="75530"/>
                </a:cubicBezTo>
                <a:cubicBezTo>
                  <a:pt x="2070187" y="85601"/>
                  <a:pt x="2051125" y="95672"/>
                  <a:pt x="2026667" y="105743"/>
                </a:cubicBezTo>
                <a:lnTo>
                  <a:pt x="2026667" y="71214"/>
                </a:lnTo>
                <a:cubicBezTo>
                  <a:pt x="2062634" y="56108"/>
                  <a:pt x="2084574" y="36327"/>
                  <a:pt x="2092486" y="11869"/>
                </a:cubicBezTo>
                <a:close/>
                <a:moveTo>
                  <a:pt x="1192300" y="9711"/>
                </a:moveTo>
                <a:lnTo>
                  <a:pt x="1202011" y="39923"/>
                </a:lnTo>
                <a:cubicBezTo>
                  <a:pt x="1197695" y="40643"/>
                  <a:pt x="1191221" y="41722"/>
                  <a:pt x="1182589" y="43160"/>
                </a:cubicBezTo>
                <a:cubicBezTo>
                  <a:pt x="1175395" y="43880"/>
                  <a:pt x="1169641" y="44599"/>
                  <a:pt x="1165325" y="45318"/>
                </a:cubicBezTo>
                <a:lnTo>
                  <a:pt x="1165325" y="76609"/>
                </a:lnTo>
                <a:lnTo>
                  <a:pt x="1198774" y="76609"/>
                </a:lnTo>
                <a:lnTo>
                  <a:pt x="1198774" y="108980"/>
                </a:lnTo>
                <a:lnTo>
                  <a:pt x="1198774" y="110059"/>
                </a:lnTo>
                <a:lnTo>
                  <a:pt x="1165325" y="110059"/>
                </a:lnTo>
                <a:lnTo>
                  <a:pt x="1165325" y="131639"/>
                </a:lnTo>
                <a:lnTo>
                  <a:pt x="1177194" y="120849"/>
                </a:lnTo>
                <a:cubicBezTo>
                  <a:pt x="1190142" y="131639"/>
                  <a:pt x="1200572" y="141350"/>
                  <a:pt x="1208485" y="149982"/>
                </a:cubicBezTo>
                <a:lnTo>
                  <a:pt x="1186905" y="170483"/>
                </a:lnTo>
                <a:cubicBezTo>
                  <a:pt x="1183308" y="166167"/>
                  <a:pt x="1178632" y="160772"/>
                  <a:pt x="1172878" y="154298"/>
                </a:cubicBezTo>
                <a:cubicBezTo>
                  <a:pt x="1169281" y="149982"/>
                  <a:pt x="1166763" y="147104"/>
                  <a:pt x="1165325" y="145666"/>
                </a:cubicBezTo>
                <a:lnTo>
                  <a:pt x="1165325" y="253566"/>
                </a:lnTo>
                <a:lnTo>
                  <a:pt x="1131875" y="253566"/>
                </a:lnTo>
                <a:lnTo>
                  <a:pt x="1131875" y="169404"/>
                </a:lnTo>
                <a:cubicBezTo>
                  <a:pt x="1123963" y="185949"/>
                  <a:pt x="1114611" y="201414"/>
                  <a:pt x="1103821" y="215801"/>
                </a:cubicBezTo>
                <a:cubicBezTo>
                  <a:pt x="1101663" y="205011"/>
                  <a:pt x="1097707" y="191344"/>
                  <a:pt x="1091952" y="174799"/>
                </a:cubicBezTo>
                <a:cubicBezTo>
                  <a:pt x="1108497" y="155377"/>
                  <a:pt x="1121085" y="133797"/>
                  <a:pt x="1129717" y="110059"/>
                </a:cubicBezTo>
                <a:lnTo>
                  <a:pt x="1095189" y="110059"/>
                </a:lnTo>
                <a:lnTo>
                  <a:pt x="1095189" y="76609"/>
                </a:lnTo>
                <a:lnTo>
                  <a:pt x="1131875" y="76609"/>
                </a:lnTo>
                <a:lnTo>
                  <a:pt x="1131875" y="48555"/>
                </a:lnTo>
                <a:cubicBezTo>
                  <a:pt x="1128279" y="48555"/>
                  <a:pt x="1123243" y="48915"/>
                  <a:pt x="1116769" y="49634"/>
                </a:cubicBezTo>
                <a:cubicBezTo>
                  <a:pt x="1109576" y="49634"/>
                  <a:pt x="1104181" y="49994"/>
                  <a:pt x="1100584" y="50713"/>
                </a:cubicBezTo>
                <a:cubicBezTo>
                  <a:pt x="1098426" y="39204"/>
                  <a:pt x="1096268" y="29133"/>
                  <a:pt x="1094110" y="20501"/>
                </a:cubicBezTo>
                <a:cubicBezTo>
                  <a:pt x="1129358" y="17624"/>
                  <a:pt x="1162088" y="14027"/>
                  <a:pt x="1192300" y="9711"/>
                </a:cubicBezTo>
                <a:close/>
                <a:moveTo>
                  <a:pt x="1415653" y="4316"/>
                </a:moveTo>
                <a:lnTo>
                  <a:pt x="1446945" y="4316"/>
                </a:lnTo>
                <a:lnTo>
                  <a:pt x="1446945" y="31291"/>
                </a:lnTo>
                <a:lnTo>
                  <a:pt x="1473920" y="31291"/>
                </a:lnTo>
                <a:lnTo>
                  <a:pt x="1473920" y="49634"/>
                </a:lnTo>
                <a:cubicBezTo>
                  <a:pt x="1475358" y="47476"/>
                  <a:pt x="1477876" y="43880"/>
                  <a:pt x="1481473" y="38844"/>
                </a:cubicBezTo>
                <a:cubicBezTo>
                  <a:pt x="1485069" y="33809"/>
                  <a:pt x="1487947" y="29853"/>
                  <a:pt x="1490105" y="26975"/>
                </a:cubicBezTo>
                <a:lnTo>
                  <a:pt x="1513843" y="43160"/>
                </a:lnTo>
                <a:cubicBezTo>
                  <a:pt x="1505211" y="56108"/>
                  <a:pt x="1497298" y="67258"/>
                  <a:pt x="1490105" y="76609"/>
                </a:cubicBezTo>
                <a:lnTo>
                  <a:pt x="1499816" y="76609"/>
                </a:lnTo>
                <a:lnTo>
                  <a:pt x="1499816" y="102506"/>
                </a:lnTo>
                <a:cubicBezTo>
                  <a:pt x="1514203" y="71574"/>
                  <a:pt x="1524993" y="38844"/>
                  <a:pt x="1532186" y="4316"/>
                </a:cubicBezTo>
                <a:lnTo>
                  <a:pt x="1566714" y="7553"/>
                </a:lnTo>
                <a:cubicBezTo>
                  <a:pt x="1565995" y="11150"/>
                  <a:pt x="1564556" y="16185"/>
                  <a:pt x="1562398" y="22659"/>
                </a:cubicBezTo>
                <a:cubicBezTo>
                  <a:pt x="1559521" y="32011"/>
                  <a:pt x="1557722" y="39204"/>
                  <a:pt x="1557003" y="44239"/>
                </a:cubicBezTo>
                <a:lnTo>
                  <a:pt x="1622822" y="44239"/>
                </a:lnTo>
                <a:lnTo>
                  <a:pt x="1622822" y="75530"/>
                </a:lnTo>
                <a:lnTo>
                  <a:pt x="1612032" y="75530"/>
                </a:lnTo>
                <a:cubicBezTo>
                  <a:pt x="1608435" y="119410"/>
                  <a:pt x="1598365" y="156456"/>
                  <a:pt x="1581820" y="186668"/>
                </a:cubicBezTo>
                <a:cubicBezTo>
                  <a:pt x="1593329" y="201055"/>
                  <a:pt x="1607716" y="212564"/>
                  <a:pt x="1624980" y="221196"/>
                </a:cubicBezTo>
                <a:cubicBezTo>
                  <a:pt x="1619945" y="224793"/>
                  <a:pt x="1612392" y="235223"/>
                  <a:pt x="1602321" y="252487"/>
                </a:cubicBezTo>
                <a:cubicBezTo>
                  <a:pt x="1586496" y="241697"/>
                  <a:pt x="1572828" y="230188"/>
                  <a:pt x="1561319" y="217959"/>
                </a:cubicBezTo>
                <a:cubicBezTo>
                  <a:pt x="1546932" y="233065"/>
                  <a:pt x="1530028" y="246013"/>
                  <a:pt x="1510606" y="256803"/>
                </a:cubicBezTo>
                <a:cubicBezTo>
                  <a:pt x="1506290" y="250329"/>
                  <a:pt x="1499456" y="242057"/>
                  <a:pt x="1490105" y="231986"/>
                </a:cubicBezTo>
                <a:cubicBezTo>
                  <a:pt x="1487947" y="229109"/>
                  <a:pt x="1486148" y="226951"/>
                  <a:pt x="1484710" y="225512"/>
                </a:cubicBezTo>
                <a:cubicBezTo>
                  <a:pt x="1507009" y="216161"/>
                  <a:pt x="1525712" y="202853"/>
                  <a:pt x="1540818" y="185589"/>
                </a:cubicBezTo>
                <a:cubicBezTo>
                  <a:pt x="1533625" y="169763"/>
                  <a:pt x="1527151" y="152140"/>
                  <a:pt x="1521396" y="132718"/>
                </a:cubicBezTo>
                <a:cubicBezTo>
                  <a:pt x="1520677" y="134156"/>
                  <a:pt x="1519598" y="136314"/>
                  <a:pt x="1518159" y="139192"/>
                </a:cubicBezTo>
                <a:cubicBezTo>
                  <a:pt x="1516001" y="143508"/>
                  <a:pt x="1514203" y="146385"/>
                  <a:pt x="1512764" y="147824"/>
                </a:cubicBezTo>
                <a:cubicBezTo>
                  <a:pt x="1507009" y="137753"/>
                  <a:pt x="1500175" y="127323"/>
                  <a:pt x="1492263" y="116533"/>
                </a:cubicBezTo>
                <a:cubicBezTo>
                  <a:pt x="1492982" y="114375"/>
                  <a:pt x="1494421" y="111497"/>
                  <a:pt x="1496579" y="107901"/>
                </a:cubicBezTo>
                <a:cubicBezTo>
                  <a:pt x="1497298" y="105743"/>
                  <a:pt x="1498017" y="104304"/>
                  <a:pt x="1498737" y="103585"/>
                </a:cubicBezTo>
                <a:lnTo>
                  <a:pt x="1468525" y="103585"/>
                </a:lnTo>
                <a:cubicBezTo>
                  <a:pt x="1467086" y="105023"/>
                  <a:pt x="1464928" y="107541"/>
                  <a:pt x="1462051" y="111138"/>
                </a:cubicBezTo>
                <a:cubicBezTo>
                  <a:pt x="1459173" y="114015"/>
                  <a:pt x="1457015" y="116533"/>
                  <a:pt x="1455577" y="118691"/>
                </a:cubicBezTo>
                <a:lnTo>
                  <a:pt x="1491184" y="118691"/>
                </a:lnTo>
                <a:lnTo>
                  <a:pt x="1491184" y="145666"/>
                </a:lnTo>
                <a:lnTo>
                  <a:pt x="1459893" y="167246"/>
                </a:lnTo>
                <a:lnTo>
                  <a:pt x="1459893" y="176957"/>
                </a:lnTo>
                <a:cubicBezTo>
                  <a:pt x="1474999" y="175518"/>
                  <a:pt x="1489745" y="174439"/>
                  <a:pt x="1504132" y="173720"/>
                </a:cubicBezTo>
                <a:cubicBezTo>
                  <a:pt x="1504132" y="178036"/>
                  <a:pt x="1503772" y="184150"/>
                  <a:pt x="1503053" y="192063"/>
                </a:cubicBezTo>
                <a:cubicBezTo>
                  <a:pt x="1503053" y="196379"/>
                  <a:pt x="1503053" y="199616"/>
                  <a:pt x="1503053" y="201774"/>
                </a:cubicBezTo>
                <a:lnTo>
                  <a:pt x="1468990" y="205667"/>
                </a:lnTo>
                <a:lnTo>
                  <a:pt x="1459893" y="206090"/>
                </a:lnTo>
                <a:lnTo>
                  <a:pt x="1459893" y="223354"/>
                </a:lnTo>
                <a:cubicBezTo>
                  <a:pt x="1459173" y="239179"/>
                  <a:pt x="1451620" y="248171"/>
                  <a:pt x="1437234" y="250329"/>
                </a:cubicBezTo>
                <a:cubicBezTo>
                  <a:pt x="1435076" y="250329"/>
                  <a:pt x="1430760" y="250329"/>
                  <a:pt x="1424285" y="250329"/>
                </a:cubicBezTo>
                <a:cubicBezTo>
                  <a:pt x="1412776" y="251048"/>
                  <a:pt x="1403784" y="251408"/>
                  <a:pt x="1397310" y="251408"/>
                </a:cubicBezTo>
                <a:cubicBezTo>
                  <a:pt x="1396591" y="249250"/>
                  <a:pt x="1395872" y="246013"/>
                  <a:pt x="1395152" y="241697"/>
                </a:cubicBezTo>
                <a:cubicBezTo>
                  <a:pt x="1392994" y="232346"/>
                  <a:pt x="1391556" y="226231"/>
                  <a:pt x="1390836" y="223354"/>
                </a:cubicBezTo>
                <a:cubicBezTo>
                  <a:pt x="1401626" y="224073"/>
                  <a:pt x="1410258" y="224433"/>
                  <a:pt x="1416732" y="224433"/>
                </a:cubicBezTo>
                <a:cubicBezTo>
                  <a:pt x="1424645" y="223714"/>
                  <a:pt x="1428601" y="220117"/>
                  <a:pt x="1428601" y="213643"/>
                </a:cubicBezTo>
                <a:lnTo>
                  <a:pt x="1428601" y="209327"/>
                </a:lnTo>
                <a:cubicBezTo>
                  <a:pt x="1422847" y="210046"/>
                  <a:pt x="1414934" y="210766"/>
                  <a:pt x="1404863" y="211485"/>
                </a:cubicBezTo>
                <a:cubicBezTo>
                  <a:pt x="1391915" y="212924"/>
                  <a:pt x="1382204" y="214003"/>
                  <a:pt x="1375730" y="214722"/>
                </a:cubicBezTo>
                <a:lnTo>
                  <a:pt x="1371414" y="184510"/>
                </a:lnTo>
                <a:cubicBezTo>
                  <a:pt x="1376450" y="183791"/>
                  <a:pt x="1381125" y="183431"/>
                  <a:pt x="1385441" y="183431"/>
                </a:cubicBezTo>
                <a:cubicBezTo>
                  <a:pt x="1380406" y="174080"/>
                  <a:pt x="1375371" y="165807"/>
                  <a:pt x="1370335" y="158614"/>
                </a:cubicBezTo>
                <a:cubicBezTo>
                  <a:pt x="1371774" y="157894"/>
                  <a:pt x="1373932" y="156456"/>
                  <a:pt x="1376809" y="154298"/>
                </a:cubicBezTo>
                <a:cubicBezTo>
                  <a:pt x="1380406" y="152140"/>
                  <a:pt x="1384722" y="148903"/>
                  <a:pt x="1389757" y="144587"/>
                </a:cubicBezTo>
                <a:lnTo>
                  <a:pt x="1373572" y="144587"/>
                </a:lnTo>
                <a:lnTo>
                  <a:pt x="1373572" y="118691"/>
                </a:lnTo>
                <a:lnTo>
                  <a:pt x="1415653" y="118691"/>
                </a:lnTo>
                <a:cubicBezTo>
                  <a:pt x="1417092" y="117252"/>
                  <a:pt x="1419250" y="115094"/>
                  <a:pt x="1422127" y="112217"/>
                </a:cubicBezTo>
                <a:cubicBezTo>
                  <a:pt x="1425005" y="108620"/>
                  <a:pt x="1427522" y="105743"/>
                  <a:pt x="1429681" y="103585"/>
                </a:cubicBezTo>
                <a:lnTo>
                  <a:pt x="1372493" y="103585"/>
                </a:lnTo>
                <a:lnTo>
                  <a:pt x="1372493" y="76609"/>
                </a:lnTo>
                <a:lnTo>
                  <a:pt x="1415653" y="76609"/>
                </a:lnTo>
                <a:lnTo>
                  <a:pt x="1415653" y="58266"/>
                </a:lnTo>
                <a:lnTo>
                  <a:pt x="1382204" y="58266"/>
                </a:lnTo>
                <a:lnTo>
                  <a:pt x="1382204" y="31291"/>
                </a:lnTo>
                <a:lnTo>
                  <a:pt x="1415653" y="31291"/>
                </a:lnTo>
                <a:close/>
                <a:moveTo>
                  <a:pt x="374415" y="4316"/>
                </a:moveTo>
                <a:lnTo>
                  <a:pt x="415417" y="4316"/>
                </a:lnTo>
                <a:lnTo>
                  <a:pt x="415417" y="199616"/>
                </a:lnTo>
                <a:cubicBezTo>
                  <a:pt x="415417" y="230547"/>
                  <a:pt x="403907" y="247092"/>
                  <a:pt x="380889" y="249250"/>
                </a:cubicBezTo>
                <a:cubicBezTo>
                  <a:pt x="364344" y="249969"/>
                  <a:pt x="347439" y="250329"/>
                  <a:pt x="330175" y="250329"/>
                </a:cubicBezTo>
                <a:cubicBezTo>
                  <a:pt x="328737" y="243136"/>
                  <a:pt x="326219" y="233425"/>
                  <a:pt x="322622" y="221196"/>
                </a:cubicBezTo>
                <a:cubicBezTo>
                  <a:pt x="321903" y="217599"/>
                  <a:pt x="321184" y="214722"/>
                  <a:pt x="320464" y="212564"/>
                </a:cubicBezTo>
                <a:cubicBezTo>
                  <a:pt x="332693" y="214003"/>
                  <a:pt x="344562" y="214722"/>
                  <a:pt x="356072" y="214722"/>
                </a:cubicBezTo>
                <a:cubicBezTo>
                  <a:pt x="368300" y="214722"/>
                  <a:pt x="374415" y="207529"/>
                  <a:pt x="374415" y="193142"/>
                </a:cubicBezTo>
                <a:close/>
                <a:moveTo>
                  <a:pt x="2383706" y="3237"/>
                </a:moveTo>
                <a:lnTo>
                  <a:pt x="2420392" y="3237"/>
                </a:lnTo>
                <a:lnTo>
                  <a:pt x="2420392" y="47476"/>
                </a:lnTo>
                <a:lnTo>
                  <a:pt x="2444130" y="47476"/>
                </a:lnTo>
                <a:lnTo>
                  <a:pt x="2444130" y="80925"/>
                </a:lnTo>
                <a:lnTo>
                  <a:pt x="2420392" y="80925"/>
                </a:lnTo>
                <a:lnTo>
                  <a:pt x="2420392" y="212564"/>
                </a:lnTo>
                <a:cubicBezTo>
                  <a:pt x="2420392" y="237741"/>
                  <a:pt x="2407804" y="250329"/>
                  <a:pt x="2382627" y="250329"/>
                </a:cubicBezTo>
                <a:cubicBezTo>
                  <a:pt x="2367521" y="251048"/>
                  <a:pt x="2351336" y="251408"/>
                  <a:pt x="2334072" y="251408"/>
                </a:cubicBezTo>
                <a:cubicBezTo>
                  <a:pt x="2332633" y="239899"/>
                  <a:pt x="2329756" y="228030"/>
                  <a:pt x="2325440" y="215801"/>
                </a:cubicBezTo>
                <a:cubicBezTo>
                  <a:pt x="2329036" y="215801"/>
                  <a:pt x="2334431" y="215801"/>
                  <a:pt x="2341625" y="215801"/>
                </a:cubicBezTo>
                <a:cubicBezTo>
                  <a:pt x="2350976" y="216520"/>
                  <a:pt x="2358529" y="216880"/>
                  <a:pt x="2364284" y="216880"/>
                </a:cubicBezTo>
                <a:cubicBezTo>
                  <a:pt x="2377232" y="217599"/>
                  <a:pt x="2383706" y="211845"/>
                  <a:pt x="2383706" y="199616"/>
                </a:cubicBezTo>
                <a:lnTo>
                  <a:pt x="2383706" y="80925"/>
                </a:lnTo>
                <a:lnTo>
                  <a:pt x="2309255" y="80925"/>
                </a:lnTo>
                <a:lnTo>
                  <a:pt x="2309255" y="47476"/>
                </a:lnTo>
                <a:lnTo>
                  <a:pt x="2383706" y="47476"/>
                </a:lnTo>
                <a:close/>
                <a:moveTo>
                  <a:pt x="1274304" y="3237"/>
                </a:moveTo>
                <a:lnTo>
                  <a:pt x="1310990" y="3237"/>
                </a:lnTo>
                <a:lnTo>
                  <a:pt x="1310990" y="156456"/>
                </a:lnTo>
                <a:lnTo>
                  <a:pt x="1345518" y="153219"/>
                </a:lnTo>
                <a:lnTo>
                  <a:pt x="1348755" y="185589"/>
                </a:lnTo>
                <a:lnTo>
                  <a:pt x="1310990" y="188826"/>
                </a:lnTo>
                <a:lnTo>
                  <a:pt x="1310990" y="253566"/>
                </a:lnTo>
                <a:lnTo>
                  <a:pt x="1274304" y="253566"/>
                </a:lnTo>
                <a:lnTo>
                  <a:pt x="1274304" y="192063"/>
                </a:lnTo>
                <a:lnTo>
                  <a:pt x="1195537" y="199616"/>
                </a:lnTo>
                <a:lnTo>
                  <a:pt x="1191221" y="167246"/>
                </a:lnTo>
                <a:lnTo>
                  <a:pt x="1274304" y="159693"/>
                </a:lnTo>
                <a:close/>
                <a:moveTo>
                  <a:pt x="2753097" y="2158"/>
                </a:moveTo>
                <a:lnTo>
                  <a:pt x="2784388" y="5395"/>
                </a:lnTo>
                <a:cubicBezTo>
                  <a:pt x="2783669" y="7553"/>
                  <a:pt x="2782950" y="10790"/>
                  <a:pt x="2782230" y="15106"/>
                </a:cubicBezTo>
                <a:cubicBezTo>
                  <a:pt x="2780072" y="23738"/>
                  <a:pt x="2778634" y="30212"/>
                  <a:pt x="2777914" y="34528"/>
                </a:cubicBezTo>
                <a:lnTo>
                  <a:pt x="2818917" y="34528"/>
                </a:lnTo>
                <a:lnTo>
                  <a:pt x="2818917" y="63661"/>
                </a:lnTo>
                <a:lnTo>
                  <a:pt x="2770361" y="63661"/>
                </a:lnTo>
                <a:cubicBezTo>
                  <a:pt x="2766045" y="83803"/>
                  <a:pt x="2761010" y="103585"/>
                  <a:pt x="2755255" y="123007"/>
                </a:cubicBezTo>
                <a:lnTo>
                  <a:pt x="2769282" y="123007"/>
                </a:lnTo>
                <a:lnTo>
                  <a:pt x="2769282" y="79847"/>
                </a:lnTo>
                <a:lnTo>
                  <a:pt x="2799495" y="79847"/>
                </a:lnTo>
                <a:lnTo>
                  <a:pt x="2799495" y="123007"/>
                </a:lnTo>
                <a:lnTo>
                  <a:pt x="2819996" y="123007"/>
                </a:lnTo>
                <a:lnTo>
                  <a:pt x="2819996" y="153219"/>
                </a:lnTo>
                <a:lnTo>
                  <a:pt x="2799495" y="153219"/>
                </a:lnTo>
                <a:lnTo>
                  <a:pt x="2799495" y="175878"/>
                </a:lnTo>
                <a:cubicBezTo>
                  <a:pt x="2806688" y="175159"/>
                  <a:pt x="2813522" y="174799"/>
                  <a:pt x="2819996" y="174799"/>
                </a:cubicBezTo>
                <a:cubicBezTo>
                  <a:pt x="2819996" y="185589"/>
                  <a:pt x="2819996" y="195660"/>
                  <a:pt x="2819996" y="205011"/>
                </a:cubicBezTo>
                <a:cubicBezTo>
                  <a:pt x="2817118" y="205011"/>
                  <a:pt x="2813522" y="205371"/>
                  <a:pt x="2809206" y="206090"/>
                </a:cubicBezTo>
                <a:cubicBezTo>
                  <a:pt x="2804890" y="206090"/>
                  <a:pt x="2801653" y="206090"/>
                  <a:pt x="2799495" y="206090"/>
                </a:cubicBezTo>
                <a:lnTo>
                  <a:pt x="2799495" y="253566"/>
                </a:lnTo>
                <a:lnTo>
                  <a:pt x="2769282" y="253566"/>
                </a:lnTo>
                <a:lnTo>
                  <a:pt x="2769282" y="208248"/>
                </a:lnTo>
                <a:cubicBezTo>
                  <a:pt x="2748422" y="208967"/>
                  <a:pt x="2732596" y="210046"/>
                  <a:pt x="2721806" y="211485"/>
                </a:cubicBezTo>
                <a:lnTo>
                  <a:pt x="2721806" y="179115"/>
                </a:lnTo>
                <a:cubicBezTo>
                  <a:pt x="2726122" y="178396"/>
                  <a:pt x="2734035" y="178036"/>
                  <a:pt x="2745544" y="178036"/>
                </a:cubicBezTo>
                <a:cubicBezTo>
                  <a:pt x="2755615" y="177317"/>
                  <a:pt x="2763528" y="176957"/>
                  <a:pt x="2769282" y="176957"/>
                </a:cubicBezTo>
                <a:lnTo>
                  <a:pt x="2769282" y="153219"/>
                </a:lnTo>
                <a:lnTo>
                  <a:pt x="2723964" y="153219"/>
                </a:lnTo>
                <a:lnTo>
                  <a:pt x="2723964" y="123007"/>
                </a:lnTo>
                <a:cubicBezTo>
                  <a:pt x="2730438" y="102146"/>
                  <a:pt x="2735833" y="82364"/>
                  <a:pt x="2740149" y="63661"/>
                </a:cubicBezTo>
                <a:lnTo>
                  <a:pt x="2721806" y="63661"/>
                </a:lnTo>
                <a:lnTo>
                  <a:pt x="2721806" y="34528"/>
                </a:lnTo>
                <a:lnTo>
                  <a:pt x="2746623" y="34528"/>
                </a:lnTo>
                <a:cubicBezTo>
                  <a:pt x="2748781" y="23738"/>
                  <a:pt x="2750939" y="12948"/>
                  <a:pt x="2753097" y="2158"/>
                </a:cubicBezTo>
                <a:close/>
                <a:moveTo>
                  <a:pt x="927944" y="2158"/>
                </a:moveTo>
                <a:lnTo>
                  <a:pt x="972183" y="2158"/>
                </a:lnTo>
                <a:lnTo>
                  <a:pt x="965709" y="11869"/>
                </a:lnTo>
                <a:cubicBezTo>
                  <a:pt x="988727" y="44239"/>
                  <a:pt x="1024335" y="71574"/>
                  <a:pt x="1072530" y="93874"/>
                </a:cubicBezTo>
                <a:cubicBezTo>
                  <a:pt x="1067495" y="99628"/>
                  <a:pt x="1061021" y="107901"/>
                  <a:pt x="1053108" y="118691"/>
                </a:cubicBezTo>
                <a:cubicBezTo>
                  <a:pt x="1050950" y="120849"/>
                  <a:pt x="1049511" y="122647"/>
                  <a:pt x="1048792" y="124086"/>
                </a:cubicBezTo>
                <a:cubicBezTo>
                  <a:pt x="1035844" y="117612"/>
                  <a:pt x="1023975" y="110418"/>
                  <a:pt x="1013185" y="102506"/>
                </a:cubicBezTo>
                <a:lnTo>
                  <a:pt x="1013185" y="124086"/>
                </a:lnTo>
                <a:lnTo>
                  <a:pt x="963551" y="124086"/>
                </a:lnTo>
                <a:lnTo>
                  <a:pt x="963551" y="149982"/>
                </a:lnTo>
                <a:lnTo>
                  <a:pt x="1040160" y="149982"/>
                </a:lnTo>
                <a:lnTo>
                  <a:pt x="1040160" y="182352"/>
                </a:lnTo>
                <a:lnTo>
                  <a:pt x="963551" y="182352"/>
                </a:lnTo>
                <a:lnTo>
                  <a:pt x="963551" y="213643"/>
                </a:lnTo>
                <a:lnTo>
                  <a:pt x="1060661" y="213643"/>
                </a:lnTo>
                <a:lnTo>
                  <a:pt x="1060661" y="243855"/>
                </a:lnTo>
                <a:lnTo>
                  <a:pt x="827596" y="243855"/>
                </a:lnTo>
                <a:lnTo>
                  <a:pt x="827596" y="213643"/>
                </a:lnTo>
                <a:lnTo>
                  <a:pt x="924707" y="213643"/>
                </a:lnTo>
                <a:lnTo>
                  <a:pt x="924707" y="182352"/>
                </a:lnTo>
                <a:lnTo>
                  <a:pt x="848097" y="182352"/>
                </a:lnTo>
                <a:lnTo>
                  <a:pt x="848097" y="149982"/>
                </a:lnTo>
                <a:lnTo>
                  <a:pt x="924707" y="149982"/>
                </a:lnTo>
                <a:lnTo>
                  <a:pt x="924707" y="124086"/>
                </a:lnTo>
                <a:lnTo>
                  <a:pt x="875072" y="124086"/>
                </a:lnTo>
                <a:lnTo>
                  <a:pt x="875072" y="103585"/>
                </a:lnTo>
                <a:cubicBezTo>
                  <a:pt x="863563" y="111497"/>
                  <a:pt x="851694" y="119410"/>
                  <a:pt x="839465" y="127323"/>
                </a:cubicBezTo>
                <a:cubicBezTo>
                  <a:pt x="834430" y="120129"/>
                  <a:pt x="826517" y="110059"/>
                  <a:pt x="815727" y="97111"/>
                </a:cubicBezTo>
                <a:cubicBezTo>
                  <a:pt x="871116" y="67618"/>
                  <a:pt x="908522" y="35967"/>
                  <a:pt x="927944" y="2158"/>
                </a:cubicBezTo>
                <a:close/>
                <a:moveTo>
                  <a:pt x="96032" y="2158"/>
                </a:moveTo>
                <a:lnTo>
                  <a:pt x="134876" y="2158"/>
                </a:lnTo>
                <a:lnTo>
                  <a:pt x="134876" y="47476"/>
                </a:lnTo>
                <a:lnTo>
                  <a:pt x="230907" y="47476"/>
                </a:lnTo>
                <a:lnTo>
                  <a:pt x="230907" y="192063"/>
                </a:lnTo>
                <a:lnTo>
                  <a:pt x="192063" y="192063"/>
                </a:lnTo>
                <a:lnTo>
                  <a:pt x="192063" y="173720"/>
                </a:lnTo>
                <a:lnTo>
                  <a:pt x="134876" y="173720"/>
                </a:lnTo>
                <a:lnTo>
                  <a:pt x="134876" y="254645"/>
                </a:lnTo>
                <a:lnTo>
                  <a:pt x="96032" y="254645"/>
                </a:lnTo>
                <a:lnTo>
                  <a:pt x="96032" y="173720"/>
                </a:lnTo>
                <a:lnTo>
                  <a:pt x="37765" y="173720"/>
                </a:lnTo>
                <a:lnTo>
                  <a:pt x="37765" y="192063"/>
                </a:lnTo>
                <a:lnTo>
                  <a:pt x="0" y="192063"/>
                </a:lnTo>
                <a:lnTo>
                  <a:pt x="0" y="47476"/>
                </a:lnTo>
                <a:lnTo>
                  <a:pt x="96032" y="47476"/>
                </a:lnTo>
                <a:close/>
                <a:moveTo>
                  <a:pt x="2947318" y="1079"/>
                </a:moveTo>
                <a:cubicBezTo>
                  <a:pt x="2955950" y="10431"/>
                  <a:pt x="2962784" y="18703"/>
                  <a:pt x="2967819" y="25896"/>
                </a:cubicBezTo>
                <a:lnTo>
                  <a:pt x="2951634" y="35607"/>
                </a:lnTo>
                <a:lnTo>
                  <a:pt x="2975372" y="35607"/>
                </a:lnTo>
                <a:lnTo>
                  <a:pt x="2975372" y="63661"/>
                </a:lnTo>
                <a:lnTo>
                  <a:pt x="2913869" y="63661"/>
                </a:lnTo>
                <a:lnTo>
                  <a:pt x="2913869" y="82005"/>
                </a:lnTo>
                <a:lnTo>
                  <a:pt x="2967819" y="82005"/>
                </a:lnTo>
                <a:lnTo>
                  <a:pt x="2967819" y="222275"/>
                </a:lnTo>
                <a:cubicBezTo>
                  <a:pt x="2968538" y="241697"/>
                  <a:pt x="2959187" y="251408"/>
                  <a:pt x="2939765" y="251408"/>
                </a:cubicBezTo>
                <a:cubicBezTo>
                  <a:pt x="2931852" y="251408"/>
                  <a:pt x="2925019" y="251408"/>
                  <a:pt x="2919264" y="251408"/>
                </a:cubicBezTo>
                <a:cubicBezTo>
                  <a:pt x="2919264" y="250689"/>
                  <a:pt x="2919264" y="249610"/>
                  <a:pt x="2919264" y="248171"/>
                </a:cubicBezTo>
                <a:cubicBezTo>
                  <a:pt x="2918545" y="243855"/>
                  <a:pt x="2916746" y="236302"/>
                  <a:pt x="2913869" y="225512"/>
                </a:cubicBezTo>
                <a:cubicBezTo>
                  <a:pt x="2918185" y="225512"/>
                  <a:pt x="2922501" y="225512"/>
                  <a:pt x="2926817" y="225512"/>
                </a:cubicBezTo>
                <a:cubicBezTo>
                  <a:pt x="2933291" y="225512"/>
                  <a:pt x="2936528" y="222635"/>
                  <a:pt x="2936528" y="216880"/>
                </a:cubicBezTo>
                <a:lnTo>
                  <a:pt x="2936528" y="199616"/>
                </a:lnTo>
                <a:lnTo>
                  <a:pt x="2913869" y="199616"/>
                </a:lnTo>
                <a:lnTo>
                  <a:pt x="2913869" y="225512"/>
                </a:lnTo>
                <a:lnTo>
                  <a:pt x="2913869" y="250329"/>
                </a:lnTo>
                <a:lnTo>
                  <a:pt x="2881499" y="250329"/>
                </a:lnTo>
                <a:lnTo>
                  <a:pt x="2881499" y="199616"/>
                </a:lnTo>
                <a:lnTo>
                  <a:pt x="2858840" y="199616"/>
                </a:lnTo>
                <a:lnTo>
                  <a:pt x="2858840" y="253566"/>
                </a:lnTo>
                <a:lnTo>
                  <a:pt x="2827549" y="253566"/>
                </a:lnTo>
                <a:lnTo>
                  <a:pt x="2827549" y="82005"/>
                </a:lnTo>
                <a:lnTo>
                  <a:pt x="2881499" y="82005"/>
                </a:lnTo>
                <a:lnTo>
                  <a:pt x="2881499" y="63661"/>
                </a:lnTo>
                <a:lnTo>
                  <a:pt x="2825391" y="63661"/>
                </a:lnTo>
                <a:lnTo>
                  <a:pt x="2825391" y="35607"/>
                </a:lnTo>
                <a:lnTo>
                  <a:pt x="2881499" y="35607"/>
                </a:lnTo>
                <a:lnTo>
                  <a:pt x="2881499" y="3237"/>
                </a:lnTo>
                <a:lnTo>
                  <a:pt x="2913869" y="3237"/>
                </a:lnTo>
                <a:lnTo>
                  <a:pt x="2913869" y="35607"/>
                </a:lnTo>
                <a:lnTo>
                  <a:pt x="2938686" y="35607"/>
                </a:lnTo>
                <a:cubicBezTo>
                  <a:pt x="2937967" y="34169"/>
                  <a:pt x="2936888" y="32370"/>
                  <a:pt x="2935449" y="30212"/>
                </a:cubicBezTo>
                <a:cubicBezTo>
                  <a:pt x="2932572" y="26616"/>
                  <a:pt x="2928615" y="21580"/>
                  <a:pt x="2923580" y="15106"/>
                </a:cubicBezTo>
                <a:close/>
                <a:moveTo>
                  <a:pt x="1784673" y="1079"/>
                </a:moveTo>
                <a:cubicBezTo>
                  <a:pt x="1786112" y="4676"/>
                  <a:pt x="1788989" y="10790"/>
                  <a:pt x="1793305" y="19422"/>
                </a:cubicBezTo>
                <a:cubicBezTo>
                  <a:pt x="1790428" y="13668"/>
                  <a:pt x="1791147" y="15466"/>
                  <a:pt x="1795463" y="24817"/>
                </a:cubicBezTo>
                <a:lnTo>
                  <a:pt x="1895810" y="24817"/>
                </a:lnTo>
                <a:lnTo>
                  <a:pt x="1895810" y="52871"/>
                </a:lnTo>
                <a:lnTo>
                  <a:pt x="1831070" y="52871"/>
                </a:lnTo>
                <a:cubicBezTo>
                  <a:pt x="1833947" y="55029"/>
                  <a:pt x="1838263" y="57907"/>
                  <a:pt x="1844018" y="61503"/>
                </a:cubicBezTo>
                <a:cubicBezTo>
                  <a:pt x="1862721" y="73013"/>
                  <a:pt x="1878906" y="83443"/>
                  <a:pt x="1892573" y="92795"/>
                </a:cubicBezTo>
                <a:lnTo>
                  <a:pt x="1868835" y="112217"/>
                </a:lnTo>
                <a:cubicBezTo>
                  <a:pt x="1867396" y="110778"/>
                  <a:pt x="1864519" y="108980"/>
                  <a:pt x="1860203" y="106822"/>
                </a:cubicBezTo>
                <a:cubicBezTo>
                  <a:pt x="1855168" y="103225"/>
                  <a:pt x="1851571" y="100348"/>
                  <a:pt x="1849413" y="98190"/>
                </a:cubicBezTo>
                <a:cubicBezTo>
                  <a:pt x="1764531" y="100348"/>
                  <a:pt x="1706265" y="102865"/>
                  <a:pt x="1674614" y="105743"/>
                </a:cubicBezTo>
                <a:lnTo>
                  <a:pt x="1663824" y="79847"/>
                </a:lnTo>
                <a:cubicBezTo>
                  <a:pt x="1680369" y="72653"/>
                  <a:pt x="1696554" y="63661"/>
                  <a:pt x="1712380" y="52871"/>
                </a:cubicBezTo>
                <a:lnTo>
                  <a:pt x="1650876" y="52871"/>
                </a:lnTo>
                <a:lnTo>
                  <a:pt x="1650876" y="24817"/>
                </a:lnTo>
                <a:lnTo>
                  <a:pt x="1754461" y="24817"/>
                </a:lnTo>
                <a:cubicBezTo>
                  <a:pt x="1750864" y="18343"/>
                  <a:pt x="1747987" y="11869"/>
                  <a:pt x="1745829" y="5395"/>
                </a:cubicBezTo>
                <a:close/>
                <a:moveTo>
                  <a:pt x="668983" y="0"/>
                </a:moveTo>
                <a:cubicBezTo>
                  <a:pt x="671141" y="2878"/>
                  <a:pt x="674378" y="8273"/>
                  <a:pt x="678694" y="16185"/>
                </a:cubicBezTo>
                <a:cubicBezTo>
                  <a:pt x="685168" y="26256"/>
                  <a:pt x="690203" y="34169"/>
                  <a:pt x="693800" y="39923"/>
                </a:cubicBezTo>
                <a:lnTo>
                  <a:pt x="675457" y="48555"/>
                </a:lnTo>
                <a:lnTo>
                  <a:pt x="706748" y="48555"/>
                </a:lnTo>
                <a:cubicBezTo>
                  <a:pt x="713222" y="39923"/>
                  <a:pt x="721494" y="27695"/>
                  <a:pt x="731565" y="11869"/>
                </a:cubicBezTo>
                <a:cubicBezTo>
                  <a:pt x="733723" y="8273"/>
                  <a:pt x="735521" y="5755"/>
                  <a:pt x="736960" y="4316"/>
                </a:cubicBezTo>
                <a:lnTo>
                  <a:pt x="771488" y="23738"/>
                </a:lnTo>
                <a:cubicBezTo>
                  <a:pt x="769330" y="26616"/>
                  <a:pt x="766093" y="30572"/>
                  <a:pt x="761777" y="35607"/>
                </a:cubicBezTo>
                <a:cubicBezTo>
                  <a:pt x="756742" y="41362"/>
                  <a:pt x="753145" y="45678"/>
                  <a:pt x="750987" y="48555"/>
                </a:cubicBezTo>
                <a:lnTo>
                  <a:pt x="787673" y="48555"/>
                </a:lnTo>
                <a:lnTo>
                  <a:pt x="787673" y="112217"/>
                </a:lnTo>
                <a:lnTo>
                  <a:pt x="752066" y="112217"/>
                </a:lnTo>
                <a:lnTo>
                  <a:pt x="752066" y="79847"/>
                </a:lnTo>
                <a:lnTo>
                  <a:pt x="583741" y="79847"/>
                </a:lnTo>
                <a:lnTo>
                  <a:pt x="583741" y="112217"/>
                </a:lnTo>
                <a:lnTo>
                  <a:pt x="548134" y="112217"/>
                </a:lnTo>
                <a:lnTo>
                  <a:pt x="548134" y="48555"/>
                </a:lnTo>
                <a:lnTo>
                  <a:pt x="590215" y="48555"/>
                </a:lnTo>
                <a:cubicBezTo>
                  <a:pt x="583022" y="38485"/>
                  <a:pt x="575469" y="29133"/>
                  <a:pt x="567556" y="20501"/>
                </a:cubicBezTo>
                <a:lnTo>
                  <a:pt x="594531" y="2158"/>
                </a:lnTo>
                <a:cubicBezTo>
                  <a:pt x="605321" y="13668"/>
                  <a:pt x="616111" y="26616"/>
                  <a:pt x="626901" y="41002"/>
                </a:cubicBezTo>
                <a:lnTo>
                  <a:pt x="615032" y="48555"/>
                </a:lnTo>
                <a:lnTo>
                  <a:pt x="658193" y="48555"/>
                </a:lnTo>
                <a:cubicBezTo>
                  <a:pt x="655315" y="43520"/>
                  <a:pt x="650999" y="36327"/>
                  <a:pt x="645245" y="26975"/>
                </a:cubicBezTo>
                <a:cubicBezTo>
                  <a:pt x="641648" y="21221"/>
                  <a:pt x="639130" y="16905"/>
                  <a:pt x="637692" y="1402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kumimoji="1" lang="zh-CN" altLang="en-US" sz="2200" b="0" dirty="0">
              <a:solidFill>
                <a:schemeClr val="bg1"/>
              </a:solidFill>
              <a:latin typeface="Wingdings 2" panose="05020102010507070707" pitchFamily="18" charset="2"/>
              <a:ea typeface="方正兰亭粗黑简体" panose="02000000000000000000" pitchFamily="2" charset="-122"/>
            </a:endParaRPr>
          </a:p>
        </p:txBody>
      </p:sp>
      <p:pic>
        <p:nvPicPr>
          <p:cNvPr id="6" name="图片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7" name="矩形 6"/>
          <p:cNvSpPr/>
          <p:nvPr userDrawn="1"/>
        </p:nvSpPr>
        <p:spPr>
          <a:xfrm>
            <a:off x="0" y="772160"/>
            <a:ext cx="12192000" cy="6085840"/>
          </a:xfrm>
          <a:prstGeom prst="rect">
            <a:avLst/>
          </a:prstGeom>
          <a:solidFill>
            <a:srgbClr val="0162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9" name="图片 8"/>
          <p:cNvPicPr>
            <a:picLocks noChangeAspect="1"/>
          </p:cNvPicPr>
          <p:nvPr userDrawn="1"/>
        </p:nvPicPr>
        <p:blipFill rotWithShape="1">
          <a:blip r:embed="rId2"/>
          <a:srcRect b="88740"/>
          <a:stretch>
            <a:fillRect/>
          </a:stretch>
        </p:blipFill>
        <p:spPr>
          <a:xfrm>
            <a:off x="0" y="0"/>
            <a:ext cx="12192000" cy="772160"/>
          </a:xfrm>
          <a:prstGeom prst="rect">
            <a:avLst/>
          </a:prstGeom>
          <a:effectLst>
            <a:outerShdw blurRad="292100" dist="25400" dir="5400000" sx="112000" sy="112000" algn="ctr" rotWithShape="0">
              <a:schemeClr val="bg1">
                <a:alpha val="65000"/>
              </a:schemeClr>
            </a:outerShdw>
          </a:effectLst>
        </p:spPr>
      </p:pic>
      <p:sp>
        <p:nvSpPr>
          <p:cNvPr id="11" name="矩形 10"/>
          <p:cNvSpPr/>
          <p:nvPr userDrawn="1"/>
        </p:nvSpPr>
        <p:spPr>
          <a:xfrm>
            <a:off x="1449421" y="126460"/>
            <a:ext cx="3618690" cy="50583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userDrawn="1"/>
        </p:nvSpPr>
        <p:spPr>
          <a:xfrm>
            <a:off x="1580741" y="252464"/>
            <a:ext cx="3253755" cy="256803"/>
          </a:xfrm>
          <a:custGeom>
            <a:avLst/>
            <a:gdLst/>
            <a:ahLst/>
            <a:cxnLst/>
            <a:rect l="l" t="t" r="r" b="b"/>
            <a:pathLst>
              <a:path w="3253755" h="256803">
                <a:moveTo>
                  <a:pt x="1471492" y="205550"/>
                </a:moveTo>
                <a:cubicBezTo>
                  <a:pt x="1472391" y="205550"/>
                  <a:pt x="1470323" y="205730"/>
                  <a:pt x="1465288" y="206090"/>
                </a:cubicBezTo>
                <a:lnTo>
                  <a:pt x="1468990" y="205667"/>
                </a:lnTo>
                <a:close/>
                <a:moveTo>
                  <a:pt x="1712380" y="173720"/>
                </a:moveTo>
                <a:lnTo>
                  <a:pt x="1712380" y="187747"/>
                </a:lnTo>
                <a:lnTo>
                  <a:pt x="1834307" y="187747"/>
                </a:lnTo>
                <a:lnTo>
                  <a:pt x="1834307" y="173720"/>
                </a:lnTo>
                <a:close/>
                <a:moveTo>
                  <a:pt x="2913869" y="154298"/>
                </a:moveTo>
                <a:lnTo>
                  <a:pt x="2913869" y="175878"/>
                </a:lnTo>
                <a:lnTo>
                  <a:pt x="2936528" y="175878"/>
                </a:lnTo>
                <a:lnTo>
                  <a:pt x="2936528" y="154298"/>
                </a:lnTo>
                <a:close/>
                <a:moveTo>
                  <a:pt x="2858840" y="154298"/>
                </a:moveTo>
                <a:lnTo>
                  <a:pt x="2858840" y="175878"/>
                </a:lnTo>
                <a:lnTo>
                  <a:pt x="2881499" y="175878"/>
                </a:lnTo>
                <a:lnTo>
                  <a:pt x="2881499" y="154298"/>
                </a:lnTo>
                <a:close/>
                <a:moveTo>
                  <a:pt x="3171751" y="146745"/>
                </a:moveTo>
                <a:lnTo>
                  <a:pt x="3207358" y="146745"/>
                </a:lnTo>
                <a:lnTo>
                  <a:pt x="3207358" y="158614"/>
                </a:lnTo>
                <a:lnTo>
                  <a:pt x="3253755" y="158614"/>
                </a:lnTo>
                <a:lnTo>
                  <a:pt x="3253755" y="189905"/>
                </a:lnTo>
                <a:lnTo>
                  <a:pt x="3207358" y="189905"/>
                </a:lnTo>
                <a:lnTo>
                  <a:pt x="3207358" y="211485"/>
                </a:lnTo>
                <a:cubicBezTo>
                  <a:pt x="3207358" y="236662"/>
                  <a:pt x="3192971" y="249969"/>
                  <a:pt x="3164198" y="251408"/>
                </a:cubicBezTo>
                <a:cubicBezTo>
                  <a:pt x="3150530" y="251408"/>
                  <a:pt x="3136503" y="251408"/>
                  <a:pt x="3122117" y="251408"/>
                </a:cubicBezTo>
                <a:cubicBezTo>
                  <a:pt x="3119239" y="238460"/>
                  <a:pt x="3116002" y="227670"/>
                  <a:pt x="3112406" y="219038"/>
                </a:cubicBezTo>
                <a:cubicBezTo>
                  <a:pt x="3114564" y="219038"/>
                  <a:pt x="3117081" y="219398"/>
                  <a:pt x="3119959" y="220117"/>
                </a:cubicBezTo>
                <a:cubicBezTo>
                  <a:pt x="3134345" y="220836"/>
                  <a:pt x="3144776" y="221196"/>
                  <a:pt x="3151250" y="221196"/>
                </a:cubicBezTo>
                <a:cubicBezTo>
                  <a:pt x="3164917" y="221196"/>
                  <a:pt x="3171751" y="214722"/>
                  <a:pt x="3171751" y="201774"/>
                </a:cubicBezTo>
                <a:lnTo>
                  <a:pt x="3171751" y="189905"/>
                </a:lnTo>
                <a:lnTo>
                  <a:pt x="3078957" y="189905"/>
                </a:lnTo>
                <a:cubicBezTo>
                  <a:pt x="3080395" y="191344"/>
                  <a:pt x="3082913" y="193502"/>
                  <a:pt x="3086510" y="196379"/>
                </a:cubicBezTo>
                <a:cubicBezTo>
                  <a:pt x="3089387" y="198537"/>
                  <a:pt x="3094782" y="203213"/>
                  <a:pt x="3102695" y="210406"/>
                </a:cubicBezTo>
                <a:lnTo>
                  <a:pt x="3081115" y="231986"/>
                </a:lnTo>
                <a:cubicBezTo>
                  <a:pt x="3068886" y="221915"/>
                  <a:pt x="3056297" y="210406"/>
                  <a:pt x="3043349" y="197458"/>
                </a:cubicBezTo>
                <a:lnTo>
                  <a:pt x="3050902" y="189905"/>
                </a:lnTo>
                <a:lnTo>
                  <a:pt x="2998031" y="189905"/>
                </a:lnTo>
                <a:lnTo>
                  <a:pt x="2998031" y="158614"/>
                </a:lnTo>
                <a:lnTo>
                  <a:pt x="3171751" y="158614"/>
                </a:lnTo>
                <a:close/>
                <a:moveTo>
                  <a:pt x="1432918" y="144587"/>
                </a:moveTo>
                <a:cubicBezTo>
                  <a:pt x="1419969" y="158973"/>
                  <a:pt x="1406302" y="171562"/>
                  <a:pt x="1391915" y="182352"/>
                </a:cubicBezTo>
                <a:cubicBezTo>
                  <a:pt x="1391915" y="182352"/>
                  <a:pt x="1404144" y="181633"/>
                  <a:pt x="1428601" y="180194"/>
                </a:cubicBezTo>
                <a:lnTo>
                  <a:pt x="1428601" y="160772"/>
                </a:lnTo>
                <a:lnTo>
                  <a:pt x="1452340" y="144587"/>
                </a:lnTo>
                <a:close/>
                <a:moveTo>
                  <a:pt x="1712380" y="138113"/>
                </a:moveTo>
                <a:lnTo>
                  <a:pt x="1712380" y="152140"/>
                </a:lnTo>
                <a:lnTo>
                  <a:pt x="1834307" y="152140"/>
                </a:lnTo>
                <a:lnTo>
                  <a:pt x="1834307" y="138113"/>
                </a:lnTo>
                <a:close/>
                <a:moveTo>
                  <a:pt x="1676772" y="113296"/>
                </a:moveTo>
                <a:lnTo>
                  <a:pt x="1870993" y="113296"/>
                </a:lnTo>
                <a:lnTo>
                  <a:pt x="1870993" y="215801"/>
                </a:lnTo>
                <a:cubicBezTo>
                  <a:pt x="1870993" y="236662"/>
                  <a:pt x="1860563" y="248171"/>
                  <a:pt x="1839702" y="250329"/>
                </a:cubicBezTo>
                <a:cubicBezTo>
                  <a:pt x="1824596" y="251768"/>
                  <a:pt x="1809490" y="252487"/>
                  <a:pt x="1794384" y="252487"/>
                </a:cubicBezTo>
                <a:cubicBezTo>
                  <a:pt x="1792945" y="247452"/>
                  <a:pt x="1790787" y="239899"/>
                  <a:pt x="1787910" y="229828"/>
                </a:cubicBezTo>
                <a:cubicBezTo>
                  <a:pt x="1787191" y="226951"/>
                  <a:pt x="1786471" y="224793"/>
                  <a:pt x="1785752" y="223354"/>
                </a:cubicBezTo>
                <a:cubicBezTo>
                  <a:pt x="1798700" y="224073"/>
                  <a:pt x="1810209" y="224433"/>
                  <a:pt x="1820280" y="224433"/>
                </a:cubicBezTo>
                <a:cubicBezTo>
                  <a:pt x="1829631" y="224433"/>
                  <a:pt x="1834307" y="219398"/>
                  <a:pt x="1834307" y="209327"/>
                </a:cubicBezTo>
                <a:lnTo>
                  <a:pt x="1712380" y="209327"/>
                </a:lnTo>
                <a:lnTo>
                  <a:pt x="1712380" y="252487"/>
                </a:lnTo>
                <a:lnTo>
                  <a:pt x="1676772" y="252487"/>
                </a:lnTo>
                <a:close/>
                <a:moveTo>
                  <a:pt x="2913869" y="107901"/>
                </a:moveTo>
                <a:lnTo>
                  <a:pt x="2913869" y="130560"/>
                </a:lnTo>
                <a:lnTo>
                  <a:pt x="2936528" y="130560"/>
                </a:lnTo>
                <a:lnTo>
                  <a:pt x="2936528" y="107901"/>
                </a:lnTo>
                <a:close/>
                <a:moveTo>
                  <a:pt x="2858840" y="107901"/>
                </a:moveTo>
                <a:lnTo>
                  <a:pt x="2858840" y="130560"/>
                </a:lnTo>
                <a:lnTo>
                  <a:pt x="2881499" y="130560"/>
                </a:lnTo>
                <a:lnTo>
                  <a:pt x="2881499" y="107901"/>
                </a:lnTo>
                <a:close/>
                <a:moveTo>
                  <a:pt x="596689" y="98190"/>
                </a:moveTo>
                <a:lnTo>
                  <a:pt x="741276" y="98190"/>
                </a:lnTo>
                <a:lnTo>
                  <a:pt x="741276" y="129481"/>
                </a:lnTo>
                <a:lnTo>
                  <a:pt x="697037" y="158614"/>
                </a:lnTo>
                <a:lnTo>
                  <a:pt x="791989" y="158614"/>
                </a:lnTo>
                <a:lnTo>
                  <a:pt x="791989" y="189905"/>
                </a:lnTo>
                <a:lnTo>
                  <a:pt x="692721" y="189905"/>
                </a:lnTo>
                <a:lnTo>
                  <a:pt x="692721" y="216880"/>
                </a:lnTo>
                <a:cubicBezTo>
                  <a:pt x="692721" y="239179"/>
                  <a:pt x="680852" y="250689"/>
                  <a:pt x="657114" y="251408"/>
                </a:cubicBezTo>
                <a:cubicBezTo>
                  <a:pt x="640569" y="252127"/>
                  <a:pt x="625103" y="252487"/>
                  <a:pt x="610716" y="252487"/>
                </a:cubicBezTo>
                <a:cubicBezTo>
                  <a:pt x="608558" y="240258"/>
                  <a:pt x="605681" y="229468"/>
                  <a:pt x="602084" y="220117"/>
                </a:cubicBezTo>
                <a:cubicBezTo>
                  <a:pt x="615032" y="220836"/>
                  <a:pt x="626901" y="221196"/>
                  <a:pt x="637692" y="221196"/>
                </a:cubicBezTo>
                <a:cubicBezTo>
                  <a:pt x="649920" y="221196"/>
                  <a:pt x="656035" y="216161"/>
                  <a:pt x="656035" y="206090"/>
                </a:cubicBezTo>
                <a:lnTo>
                  <a:pt x="656035" y="189905"/>
                </a:lnTo>
                <a:lnTo>
                  <a:pt x="543818" y="189905"/>
                </a:lnTo>
                <a:lnTo>
                  <a:pt x="543818" y="158614"/>
                </a:lnTo>
                <a:lnTo>
                  <a:pt x="656035" y="158614"/>
                </a:lnTo>
                <a:lnTo>
                  <a:pt x="656035" y="152140"/>
                </a:lnTo>
                <a:lnTo>
                  <a:pt x="690563" y="129481"/>
                </a:lnTo>
                <a:lnTo>
                  <a:pt x="596689" y="129481"/>
                </a:lnTo>
                <a:close/>
                <a:moveTo>
                  <a:pt x="2326519" y="96032"/>
                </a:moveTo>
                <a:cubicBezTo>
                  <a:pt x="2342344" y="117612"/>
                  <a:pt x="2357810" y="138472"/>
                  <a:pt x="2372916" y="158614"/>
                </a:cubicBezTo>
                <a:lnTo>
                  <a:pt x="2342704" y="178036"/>
                </a:lnTo>
                <a:cubicBezTo>
                  <a:pt x="2329756" y="156456"/>
                  <a:pt x="2315369" y="135235"/>
                  <a:pt x="2299544" y="114375"/>
                </a:cubicBezTo>
                <a:close/>
                <a:moveTo>
                  <a:pt x="1220354" y="86321"/>
                </a:moveTo>
                <a:cubicBezTo>
                  <a:pt x="1235460" y="97830"/>
                  <a:pt x="1250206" y="110059"/>
                  <a:pt x="1264593" y="123007"/>
                </a:cubicBezTo>
                <a:lnTo>
                  <a:pt x="1239776" y="146745"/>
                </a:lnTo>
                <a:cubicBezTo>
                  <a:pt x="1228986" y="133797"/>
                  <a:pt x="1215318" y="121208"/>
                  <a:pt x="1198774" y="108980"/>
                </a:cubicBezTo>
                <a:close/>
                <a:moveTo>
                  <a:pt x="134876" y="83084"/>
                </a:moveTo>
                <a:lnTo>
                  <a:pt x="134876" y="138113"/>
                </a:lnTo>
                <a:lnTo>
                  <a:pt x="192063" y="138113"/>
                </a:lnTo>
                <a:lnTo>
                  <a:pt x="192063" y="83084"/>
                </a:lnTo>
                <a:close/>
                <a:moveTo>
                  <a:pt x="37765" y="83084"/>
                </a:moveTo>
                <a:lnTo>
                  <a:pt x="37765" y="138113"/>
                </a:lnTo>
                <a:lnTo>
                  <a:pt x="96032" y="138113"/>
                </a:lnTo>
                <a:lnTo>
                  <a:pt x="96032" y="83084"/>
                </a:lnTo>
                <a:close/>
                <a:moveTo>
                  <a:pt x="1546213" y="75530"/>
                </a:moveTo>
                <a:cubicBezTo>
                  <a:pt x="1546213" y="76969"/>
                  <a:pt x="1545494" y="78768"/>
                  <a:pt x="1544055" y="80926"/>
                </a:cubicBezTo>
                <a:cubicBezTo>
                  <a:pt x="1543336" y="83803"/>
                  <a:pt x="1542616" y="85961"/>
                  <a:pt x="1541897" y="87400"/>
                </a:cubicBezTo>
                <a:cubicBezTo>
                  <a:pt x="1545494" y="112576"/>
                  <a:pt x="1551968" y="134876"/>
                  <a:pt x="1561319" y="154298"/>
                </a:cubicBezTo>
                <a:cubicBezTo>
                  <a:pt x="1572109" y="131998"/>
                  <a:pt x="1578583" y="105743"/>
                  <a:pt x="1580741" y="75530"/>
                </a:cubicBezTo>
                <a:close/>
                <a:moveTo>
                  <a:pt x="473683" y="60424"/>
                </a:moveTo>
                <a:cubicBezTo>
                  <a:pt x="490228" y="97830"/>
                  <a:pt x="506053" y="137034"/>
                  <a:pt x="521159" y="178036"/>
                </a:cubicBezTo>
                <a:lnTo>
                  <a:pt x="481236" y="194221"/>
                </a:lnTo>
                <a:cubicBezTo>
                  <a:pt x="466130" y="149622"/>
                  <a:pt x="451743" y="108980"/>
                  <a:pt x="438076" y="72293"/>
                </a:cubicBezTo>
                <a:close/>
                <a:moveTo>
                  <a:pt x="304279" y="60424"/>
                </a:moveTo>
                <a:lnTo>
                  <a:pt x="342044" y="70135"/>
                </a:lnTo>
                <a:cubicBezTo>
                  <a:pt x="330535" y="115454"/>
                  <a:pt x="317587" y="157535"/>
                  <a:pt x="303200" y="196379"/>
                </a:cubicBezTo>
                <a:cubicBezTo>
                  <a:pt x="297446" y="194221"/>
                  <a:pt x="289533" y="191344"/>
                  <a:pt x="279462" y="187747"/>
                </a:cubicBezTo>
                <a:cubicBezTo>
                  <a:pt x="272269" y="184870"/>
                  <a:pt x="267234" y="182712"/>
                  <a:pt x="264356" y="181273"/>
                </a:cubicBezTo>
                <a:cubicBezTo>
                  <a:pt x="279462" y="142429"/>
                  <a:pt x="292770" y="102146"/>
                  <a:pt x="304279" y="60424"/>
                </a:cubicBezTo>
                <a:close/>
                <a:moveTo>
                  <a:pt x="1446945" y="58266"/>
                </a:moveTo>
                <a:lnTo>
                  <a:pt x="1446945" y="76609"/>
                </a:lnTo>
                <a:lnTo>
                  <a:pt x="1453419" y="76609"/>
                </a:lnTo>
                <a:cubicBezTo>
                  <a:pt x="1459173" y="70855"/>
                  <a:pt x="1464209" y="64740"/>
                  <a:pt x="1468525" y="58266"/>
                </a:cubicBezTo>
                <a:close/>
                <a:moveTo>
                  <a:pt x="1759856" y="52871"/>
                </a:moveTo>
                <a:cubicBezTo>
                  <a:pt x="1745469" y="60784"/>
                  <a:pt x="1732161" y="69056"/>
                  <a:pt x="1719933" y="77688"/>
                </a:cubicBezTo>
                <a:cubicBezTo>
                  <a:pt x="1742951" y="76250"/>
                  <a:pt x="1774242" y="75171"/>
                  <a:pt x="1813806" y="74451"/>
                </a:cubicBezTo>
                <a:cubicBezTo>
                  <a:pt x="1812367" y="73013"/>
                  <a:pt x="1809850" y="70855"/>
                  <a:pt x="1806253" y="67977"/>
                </a:cubicBezTo>
                <a:cubicBezTo>
                  <a:pt x="1802656" y="65819"/>
                  <a:pt x="1799779" y="64021"/>
                  <a:pt x="1797621" y="62582"/>
                </a:cubicBezTo>
                <a:lnTo>
                  <a:pt x="1809490" y="52871"/>
                </a:lnTo>
                <a:close/>
                <a:moveTo>
                  <a:pt x="3057376" y="43160"/>
                </a:moveTo>
                <a:lnTo>
                  <a:pt x="3057376" y="61503"/>
                </a:lnTo>
                <a:lnTo>
                  <a:pt x="3180383" y="61503"/>
                </a:lnTo>
                <a:lnTo>
                  <a:pt x="3180383" y="43160"/>
                </a:lnTo>
                <a:close/>
                <a:moveTo>
                  <a:pt x="944129" y="38844"/>
                </a:moveTo>
                <a:cubicBezTo>
                  <a:pt x="930461" y="56828"/>
                  <a:pt x="913197" y="74092"/>
                  <a:pt x="892336" y="90637"/>
                </a:cubicBezTo>
                <a:lnTo>
                  <a:pt x="995921" y="90637"/>
                </a:lnTo>
                <a:cubicBezTo>
                  <a:pt x="973621" y="73372"/>
                  <a:pt x="956357" y="56108"/>
                  <a:pt x="944129" y="38844"/>
                </a:cubicBezTo>
                <a:close/>
                <a:moveTo>
                  <a:pt x="2191643" y="22659"/>
                </a:moveTo>
                <a:lnTo>
                  <a:pt x="2302781" y="22659"/>
                </a:lnTo>
                <a:lnTo>
                  <a:pt x="2302781" y="56108"/>
                </a:lnTo>
                <a:cubicBezTo>
                  <a:pt x="2299184" y="87759"/>
                  <a:pt x="2290552" y="120129"/>
                  <a:pt x="2276885" y="153219"/>
                </a:cubicBezTo>
                <a:cubicBezTo>
                  <a:pt x="2280481" y="158973"/>
                  <a:pt x="2286236" y="167965"/>
                  <a:pt x="2294149" y="180194"/>
                </a:cubicBezTo>
                <a:cubicBezTo>
                  <a:pt x="2302781" y="193142"/>
                  <a:pt x="2309614" y="203213"/>
                  <a:pt x="2314650" y="210406"/>
                </a:cubicBezTo>
                <a:lnTo>
                  <a:pt x="2282280" y="228749"/>
                </a:lnTo>
                <a:cubicBezTo>
                  <a:pt x="2273648" y="216520"/>
                  <a:pt x="2265375" y="203213"/>
                  <a:pt x="2257462" y="188826"/>
                </a:cubicBezTo>
                <a:cubicBezTo>
                  <a:pt x="2243076" y="211125"/>
                  <a:pt x="2226171" y="230547"/>
                  <a:pt x="2206749" y="247092"/>
                </a:cubicBezTo>
                <a:cubicBezTo>
                  <a:pt x="2206030" y="245653"/>
                  <a:pt x="2204591" y="243136"/>
                  <a:pt x="2202433" y="239539"/>
                </a:cubicBezTo>
                <a:cubicBezTo>
                  <a:pt x="2196679" y="228749"/>
                  <a:pt x="2191643" y="220477"/>
                  <a:pt x="2187327" y="214722"/>
                </a:cubicBezTo>
                <a:cubicBezTo>
                  <a:pt x="2206030" y="200335"/>
                  <a:pt x="2222575" y="180913"/>
                  <a:pt x="2236961" y="156456"/>
                </a:cubicBezTo>
                <a:cubicBezTo>
                  <a:pt x="2219697" y="127682"/>
                  <a:pt x="2204591" y="103585"/>
                  <a:pt x="2191643" y="84163"/>
                </a:cubicBezTo>
                <a:lnTo>
                  <a:pt x="2219697" y="66898"/>
                </a:lnTo>
                <a:cubicBezTo>
                  <a:pt x="2224733" y="73372"/>
                  <a:pt x="2231926" y="84163"/>
                  <a:pt x="2241277" y="99269"/>
                </a:cubicBezTo>
                <a:cubicBezTo>
                  <a:pt x="2246313" y="107901"/>
                  <a:pt x="2250269" y="114375"/>
                  <a:pt x="2253146" y="118691"/>
                </a:cubicBezTo>
                <a:cubicBezTo>
                  <a:pt x="2260340" y="99269"/>
                  <a:pt x="2265015" y="78408"/>
                  <a:pt x="2267174" y="56108"/>
                </a:cubicBezTo>
                <a:lnTo>
                  <a:pt x="2191643" y="56108"/>
                </a:lnTo>
                <a:close/>
                <a:moveTo>
                  <a:pt x="1228986" y="21580"/>
                </a:moveTo>
                <a:cubicBezTo>
                  <a:pt x="1242653" y="30932"/>
                  <a:pt x="1257040" y="42801"/>
                  <a:pt x="1272146" y="57187"/>
                </a:cubicBezTo>
                <a:lnTo>
                  <a:pt x="1248408" y="80926"/>
                </a:lnTo>
                <a:cubicBezTo>
                  <a:pt x="1236179" y="67258"/>
                  <a:pt x="1222512" y="54670"/>
                  <a:pt x="1207406" y="43160"/>
                </a:cubicBezTo>
                <a:close/>
                <a:moveTo>
                  <a:pt x="3021769" y="11869"/>
                </a:moveTo>
                <a:lnTo>
                  <a:pt x="3215990" y="11869"/>
                </a:lnTo>
                <a:lnTo>
                  <a:pt x="3215990" y="90637"/>
                </a:lnTo>
                <a:lnTo>
                  <a:pt x="3057376" y="90637"/>
                </a:lnTo>
                <a:lnTo>
                  <a:pt x="3057376" y="92795"/>
                </a:lnTo>
                <a:cubicBezTo>
                  <a:pt x="3057376" y="104304"/>
                  <a:pt x="3064210" y="110059"/>
                  <a:pt x="3077878" y="110059"/>
                </a:cubicBezTo>
                <a:lnTo>
                  <a:pt x="3193331" y="110059"/>
                </a:lnTo>
                <a:cubicBezTo>
                  <a:pt x="3207718" y="110059"/>
                  <a:pt x="3215990" y="104664"/>
                  <a:pt x="3218148" y="93874"/>
                </a:cubicBezTo>
                <a:cubicBezTo>
                  <a:pt x="3219587" y="86680"/>
                  <a:pt x="3220666" y="78768"/>
                  <a:pt x="3221385" y="70135"/>
                </a:cubicBezTo>
                <a:cubicBezTo>
                  <a:pt x="3222104" y="70135"/>
                  <a:pt x="3223903" y="70855"/>
                  <a:pt x="3226780" y="72293"/>
                </a:cubicBezTo>
                <a:cubicBezTo>
                  <a:pt x="3236132" y="75890"/>
                  <a:pt x="3244764" y="78408"/>
                  <a:pt x="3252676" y="79847"/>
                </a:cubicBezTo>
                <a:cubicBezTo>
                  <a:pt x="3251238" y="88479"/>
                  <a:pt x="3248720" y="98909"/>
                  <a:pt x="3245123" y="111138"/>
                </a:cubicBezTo>
                <a:cubicBezTo>
                  <a:pt x="3244404" y="114015"/>
                  <a:pt x="3244044" y="115813"/>
                  <a:pt x="3244044" y="116533"/>
                </a:cubicBezTo>
                <a:cubicBezTo>
                  <a:pt x="3239728" y="133077"/>
                  <a:pt x="3224622" y="141350"/>
                  <a:pt x="3198726" y="141350"/>
                </a:cubicBezTo>
                <a:lnTo>
                  <a:pt x="3071403" y="141350"/>
                </a:lnTo>
                <a:cubicBezTo>
                  <a:pt x="3038314" y="141350"/>
                  <a:pt x="3021769" y="126244"/>
                  <a:pt x="3021769" y="96032"/>
                </a:cubicBezTo>
                <a:close/>
                <a:moveTo>
                  <a:pt x="2540161" y="11869"/>
                </a:moveTo>
                <a:lnTo>
                  <a:pt x="2567137" y="11869"/>
                </a:lnTo>
                <a:lnTo>
                  <a:pt x="2567137" y="239539"/>
                </a:lnTo>
                <a:lnTo>
                  <a:pt x="2531529" y="239539"/>
                </a:lnTo>
                <a:cubicBezTo>
                  <a:pt x="2531529" y="196379"/>
                  <a:pt x="2531529" y="141709"/>
                  <a:pt x="2531529" y="75530"/>
                </a:cubicBezTo>
                <a:cubicBezTo>
                  <a:pt x="2517862" y="85601"/>
                  <a:pt x="2498799" y="95672"/>
                  <a:pt x="2474342" y="105743"/>
                </a:cubicBezTo>
                <a:lnTo>
                  <a:pt x="2474342" y="71214"/>
                </a:lnTo>
                <a:cubicBezTo>
                  <a:pt x="2510309" y="56108"/>
                  <a:pt x="2532249" y="36327"/>
                  <a:pt x="2540161" y="11869"/>
                </a:cubicBezTo>
                <a:close/>
                <a:moveTo>
                  <a:pt x="2092486" y="11869"/>
                </a:moveTo>
                <a:lnTo>
                  <a:pt x="2119462" y="11869"/>
                </a:lnTo>
                <a:lnTo>
                  <a:pt x="2119462" y="239539"/>
                </a:lnTo>
                <a:lnTo>
                  <a:pt x="2083854" y="239539"/>
                </a:lnTo>
                <a:cubicBezTo>
                  <a:pt x="2083854" y="196379"/>
                  <a:pt x="2083854" y="141709"/>
                  <a:pt x="2083854" y="75530"/>
                </a:cubicBezTo>
                <a:cubicBezTo>
                  <a:pt x="2070187" y="85601"/>
                  <a:pt x="2051125" y="95672"/>
                  <a:pt x="2026667" y="105743"/>
                </a:cubicBezTo>
                <a:lnTo>
                  <a:pt x="2026667" y="71214"/>
                </a:lnTo>
                <a:cubicBezTo>
                  <a:pt x="2062634" y="56108"/>
                  <a:pt x="2084574" y="36327"/>
                  <a:pt x="2092486" y="11869"/>
                </a:cubicBezTo>
                <a:close/>
                <a:moveTo>
                  <a:pt x="1192300" y="9711"/>
                </a:moveTo>
                <a:lnTo>
                  <a:pt x="1202011" y="39923"/>
                </a:lnTo>
                <a:cubicBezTo>
                  <a:pt x="1197695" y="40643"/>
                  <a:pt x="1191221" y="41722"/>
                  <a:pt x="1182589" y="43160"/>
                </a:cubicBezTo>
                <a:cubicBezTo>
                  <a:pt x="1175395" y="43880"/>
                  <a:pt x="1169641" y="44599"/>
                  <a:pt x="1165325" y="45318"/>
                </a:cubicBezTo>
                <a:lnTo>
                  <a:pt x="1165325" y="76609"/>
                </a:lnTo>
                <a:lnTo>
                  <a:pt x="1198774" y="76609"/>
                </a:lnTo>
                <a:lnTo>
                  <a:pt x="1198774" y="108980"/>
                </a:lnTo>
                <a:lnTo>
                  <a:pt x="1198774" y="110059"/>
                </a:lnTo>
                <a:lnTo>
                  <a:pt x="1165325" y="110059"/>
                </a:lnTo>
                <a:lnTo>
                  <a:pt x="1165325" y="131639"/>
                </a:lnTo>
                <a:lnTo>
                  <a:pt x="1177194" y="120849"/>
                </a:lnTo>
                <a:cubicBezTo>
                  <a:pt x="1190142" y="131639"/>
                  <a:pt x="1200572" y="141350"/>
                  <a:pt x="1208485" y="149982"/>
                </a:cubicBezTo>
                <a:lnTo>
                  <a:pt x="1186905" y="170483"/>
                </a:lnTo>
                <a:cubicBezTo>
                  <a:pt x="1183308" y="166167"/>
                  <a:pt x="1178632" y="160772"/>
                  <a:pt x="1172878" y="154298"/>
                </a:cubicBezTo>
                <a:cubicBezTo>
                  <a:pt x="1169281" y="149982"/>
                  <a:pt x="1166763" y="147104"/>
                  <a:pt x="1165325" y="145666"/>
                </a:cubicBezTo>
                <a:lnTo>
                  <a:pt x="1165325" y="253566"/>
                </a:lnTo>
                <a:lnTo>
                  <a:pt x="1131875" y="253566"/>
                </a:lnTo>
                <a:lnTo>
                  <a:pt x="1131875" y="169404"/>
                </a:lnTo>
                <a:cubicBezTo>
                  <a:pt x="1123963" y="185949"/>
                  <a:pt x="1114611" y="201414"/>
                  <a:pt x="1103821" y="215801"/>
                </a:cubicBezTo>
                <a:cubicBezTo>
                  <a:pt x="1101663" y="205011"/>
                  <a:pt x="1097707" y="191344"/>
                  <a:pt x="1091952" y="174799"/>
                </a:cubicBezTo>
                <a:cubicBezTo>
                  <a:pt x="1108497" y="155377"/>
                  <a:pt x="1121085" y="133797"/>
                  <a:pt x="1129717" y="110059"/>
                </a:cubicBezTo>
                <a:lnTo>
                  <a:pt x="1095189" y="110059"/>
                </a:lnTo>
                <a:lnTo>
                  <a:pt x="1095189" y="76609"/>
                </a:lnTo>
                <a:lnTo>
                  <a:pt x="1131875" y="76609"/>
                </a:lnTo>
                <a:lnTo>
                  <a:pt x="1131875" y="48555"/>
                </a:lnTo>
                <a:cubicBezTo>
                  <a:pt x="1128279" y="48555"/>
                  <a:pt x="1123243" y="48915"/>
                  <a:pt x="1116769" y="49634"/>
                </a:cubicBezTo>
                <a:cubicBezTo>
                  <a:pt x="1109576" y="49634"/>
                  <a:pt x="1104181" y="49994"/>
                  <a:pt x="1100584" y="50713"/>
                </a:cubicBezTo>
                <a:cubicBezTo>
                  <a:pt x="1098426" y="39204"/>
                  <a:pt x="1096268" y="29133"/>
                  <a:pt x="1094110" y="20501"/>
                </a:cubicBezTo>
                <a:cubicBezTo>
                  <a:pt x="1129358" y="17624"/>
                  <a:pt x="1162088" y="14027"/>
                  <a:pt x="1192300" y="9711"/>
                </a:cubicBezTo>
                <a:close/>
                <a:moveTo>
                  <a:pt x="1415653" y="4316"/>
                </a:moveTo>
                <a:lnTo>
                  <a:pt x="1446945" y="4316"/>
                </a:lnTo>
                <a:lnTo>
                  <a:pt x="1446945" y="31291"/>
                </a:lnTo>
                <a:lnTo>
                  <a:pt x="1473920" y="31291"/>
                </a:lnTo>
                <a:lnTo>
                  <a:pt x="1473920" y="49634"/>
                </a:lnTo>
                <a:cubicBezTo>
                  <a:pt x="1475358" y="47476"/>
                  <a:pt x="1477876" y="43880"/>
                  <a:pt x="1481473" y="38844"/>
                </a:cubicBezTo>
                <a:cubicBezTo>
                  <a:pt x="1485069" y="33809"/>
                  <a:pt x="1487947" y="29853"/>
                  <a:pt x="1490105" y="26975"/>
                </a:cubicBezTo>
                <a:lnTo>
                  <a:pt x="1513843" y="43160"/>
                </a:lnTo>
                <a:cubicBezTo>
                  <a:pt x="1505211" y="56108"/>
                  <a:pt x="1497298" y="67258"/>
                  <a:pt x="1490105" y="76609"/>
                </a:cubicBezTo>
                <a:lnTo>
                  <a:pt x="1499816" y="76609"/>
                </a:lnTo>
                <a:lnTo>
                  <a:pt x="1499816" y="102506"/>
                </a:lnTo>
                <a:cubicBezTo>
                  <a:pt x="1514203" y="71574"/>
                  <a:pt x="1524993" y="38844"/>
                  <a:pt x="1532186" y="4316"/>
                </a:cubicBezTo>
                <a:lnTo>
                  <a:pt x="1566714" y="7553"/>
                </a:lnTo>
                <a:cubicBezTo>
                  <a:pt x="1565995" y="11150"/>
                  <a:pt x="1564556" y="16185"/>
                  <a:pt x="1562398" y="22659"/>
                </a:cubicBezTo>
                <a:cubicBezTo>
                  <a:pt x="1559521" y="32011"/>
                  <a:pt x="1557722" y="39204"/>
                  <a:pt x="1557003" y="44239"/>
                </a:cubicBezTo>
                <a:lnTo>
                  <a:pt x="1622822" y="44239"/>
                </a:lnTo>
                <a:lnTo>
                  <a:pt x="1622822" y="75530"/>
                </a:lnTo>
                <a:lnTo>
                  <a:pt x="1612032" y="75530"/>
                </a:lnTo>
                <a:cubicBezTo>
                  <a:pt x="1608435" y="119410"/>
                  <a:pt x="1598365" y="156456"/>
                  <a:pt x="1581820" y="186668"/>
                </a:cubicBezTo>
                <a:cubicBezTo>
                  <a:pt x="1593329" y="201055"/>
                  <a:pt x="1607716" y="212564"/>
                  <a:pt x="1624980" y="221196"/>
                </a:cubicBezTo>
                <a:cubicBezTo>
                  <a:pt x="1619945" y="224793"/>
                  <a:pt x="1612392" y="235223"/>
                  <a:pt x="1602321" y="252487"/>
                </a:cubicBezTo>
                <a:cubicBezTo>
                  <a:pt x="1586496" y="241697"/>
                  <a:pt x="1572828" y="230188"/>
                  <a:pt x="1561319" y="217959"/>
                </a:cubicBezTo>
                <a:cubicBezTo>
                  <a:pt x="1546932" y="233065"/>
                  <a:pt x="1530028" y="246013"/>
                  <a:pt x="1510606" y="256803"/>
                </a:cubicBezTo>
                <a:cubicBezTo>
                  <a:pt x="1506290" y="250329"/>
                  <a:pt x="1499456" y="242057"/>
                  <a:pt x="1490105" y="231986"/>
                </a:cubicBezTo>
                <a:cubicBezTo>
                  <a:pt x="1487947" y="229109"/>
                  <a:pt x="1486148" y="226951"/>
                  <a:pt x="1484710" y="225512"/>
                </a:cubicBezTo>
                <a:cubicBezTo>
                  <a:pt x="1507009" y="216161"/>
                  <a:pt x="1525712" y="202853"/>
                  <a:pt x="1540818" y="185589"/>
                </a:cubicBezTo>
                <a:cubicBezTo>
                  <a:pt x="1533625" y="169763"/>
                  <a:pt x="1527151" y="152140"/>
                  <a:pt x="1521396" y="132718"/>
                </a:cubicBezTo>
                <a:cubicBezTo>
                  <a:pt x="1520677" y="134156"/>
                  <a:pt x="1519598" y="136314"/>
                  <a:pt x="1518159" y="139192"/>
                </a:cubicBezTo>
                <a:cubicBezTo>
                  <a:pt x="1516001" y="143508"/>
                  <a:pt x="1514203" y="146385"/>
                  <a:pt x="1512764" y="147824"/>
                </a:cubicBezTo>
                <a:cubicBezTo>
                  <a:pt x="1507009" y="137753"/>
                  <a:pt x="1500175" y="127323"/>
                  <a:pt x="1492263" y="116533"/>
                </a:cubicBezTo>
                <a:cubicBezTo>
                  <a:pt x="1492982" y="114375"/>
                  <a:pt x="1494421" y="111497"/>
                  <a:pt x="1496579" y="107901"/>
                </a:cubicBezTo>
                <a:cubicBezTo>
                  <a:pt x="1497298" y="105743"/>
                  <a:pt x="1498017" y="104304"/>
                  <a:pt x="1498737" y="103585"/>
                </a:cubicBezTo>
                <a:lnTo>
                  <a:pt x="1468525" y="103585"/>
                </a:lnTo>
                <a:cubicBezTo>
                  <a:pt x="1467086" y="105023"/>
                  <a:pt x="1464928" y="107541"/>
                  <a:pt x="1462051" y="111138"/>
                </a:cubicBezTo>
                <a:cubicBezTo>
                  <a:pt x="1459173" y="114015"/>
                  <a:pt x="1457015" y="116533"/>
                  <a:pt x="1455577" y="118691"/>
                </a:cubicBezTo>
                <a:lnTo>
                  <a:pt x="1491184" y="118691"/>
                </a:lnTo>
                <a:lnTo>
                  <a:pt x="1491184" y="145666"/>
                </a:lnTo>
                <a:lnTo>
                  <a:pt x="1459893" y="167246"/>
                </a:lnTo>
                <a:lnTo>
                  <a:pt x="1459893" y="176957"/>
                </a:lnTo>
                <a:cubicBezTo>
                  <a:pt x="1474999" y="175518"/>
                  <a:pt x="1489745" y="174439"/>
                  <a:pt x="1504132" y="173720"/>
                </a:cubicBezTo>
                <a:cubicBezTo>
                  <a:pt x="1504132" y="178036"/>
                  <a:pt x="1503772" y="184150"/>
                  <a:pt x="1503053" y="192063"/>
                </a:cubicBezTo>
                <a:cubicBezTo>
                  <a:pt x="1503053" y="196379"/>
                  <a:pt x="1503053" y="199616"/>
                  <a:pt x="1503053" y="201774"/>
                </a:cubicBezTo>
                <a:lnTo>
                  <a:pt x="1468990" y="205667"/>
                </a:lnTo>
                <a:lnTo>
                  <a:pt x="1459893" y="206090"/>
                </a:lnTo>
                <a:lnTo>
                  <a:pt x="1459893" y="223354"/>
                </a:lnTo>
                <a:cubicBezTo>
                  <a:pt x="1459173" y="239179"/>
                  <a:pt x="1451620" y="248171"/>
                  <a:pt x="1437234" y="250329"/>
                </a:cubicBezTo>
                <a:cubicBezTo>
                  <a:pt x="1435076" y="250329"/>
                  <a:pt x="1430760" y="250329"/>
                  <a:pt x="1424285" y="250329"/>
                </a:cubicBezTo>
                <a:cubicBezTo>
                  <a:pt x="1412776" y="251048"/>
                  <a:pt x="1403784" y="251408"/>
                  <a:pt x="1397310" y="251408"/>
                </a:cubicBezTo>
                <a:cubicBezTo>
                  <a:pt x="1396591" y="249250"/>
                  <a:pt x="1395872" y="246013"/>
                  <a:pt x="1395152" y="241697"/>
                </a:cubicBezTo>
                <a:cubicBezTo>
                  <a:pt x="1392994" y="232346"/>
                  <a:pt x="1391556" y="226231"/>
                  <a:pt x="1390836" y="223354"/>
                </a:cubicBezTo>
                <a:cubicBezTo>
                  <a:pt x="1401626" y="224073"/>
                  <a:pt x="1410258" y="224433"/>
                  <a:pt x="1416732" y="224433"/>
                </a:cubicBezTo>
                <a:cubicBezTo>
                  <a:pt x="1424645" y="223714"/>
                  <a:pt x="1428601" y="220117"/>
                  <a:pt x="1428601" y="213643"/>
                </a:cubicBezTo>
                <a:lnTo>
                  <a:pt x="1428601" y="209327"/>
                </a:lnTo>
                <a:cubicBezTo>
                  <a:pt x="1422847" y="210046"/>
                  <a:pt x="1414934" y="210766"/>
                  <a:pt x="1404863" y="211485"/>
                </a:cubicBezTo>
                <a:cubicBezTo>
                  <a:pt x="1391915" y="212924"/>
                  <a:pt x="1382204" y="214003"/>
                  <a:pt x="1375730" y="214722"/>
                </a:cubicBezTo>
                <a:lnTo>
                  <a:pt x="1371414" y="184510"/>
                </a:lnTo>
                <a:cubicBezTo>
                  <a:pt x="1376450" y="183791"/>
                  <a:pt x="1381125" y="183431"/>
                  <a:pt x="1385441" y="183431"/>
                </a:cubicBezTo>
                <a:cubicBezTo>
                  <a:pt x="1380406" y="174080"/>
                  <a:pt x="1375371" y="165807"/>
                  <a:pt x="1370335" y="158614"/>
                </a:cubicBezTo>
                <a:cubicBezTo>
                  <a:pt x="1371774" y="157894"/>
                  <a:pt x="1373932" y="156456"/>
                  <a:pt x="1376809" y="154298"/>
                </a:cubicBezTo>
                <a:cubicBezTo>
                  <a:pt x="1380406" y="152140"/>
                  <a:pt x="1384722" y="148903"/>
                  <a:pt x="1389757" y="144587"/>
                </a:cubicBezTo>
                <a:lnTo>
                  <a:pt x="1373572" y="144587"/>
                </a:lnTo>
                <a:lnTo>
                  <a:pt x="1373572" y="118691"/>
                </a:lnTo>
                <a:lnTo>
                  <a:pt x="1415653" y="118691"/>
                </a:lnTo>
                <a:cubicBezTo>
                  <a:pt x="1417092" y="117252"/>
                  <a:pt x="1419250" y="115094"/>
                  <a:pt x="1422127" y="112217"/>
                </a:cubicBezTo>
                <a:cubicBezTo>
                  <a:pt x="1425005" y="108620"/>
                  <a:pt x="1427522" y="105743"/>
                  <a:pt x="1429681" y="103585"/>
                </a:cubicBezTo>
                <a:lnTo>
                  <a:pt x="1372493" y="103585"/>
                </a:lnTo>
                <a:lnTo>
                  <a:pt x="1372493" y="76609"/>
                </a:lnTo>
                <a:lnTo>
                  <a:pt x="1415653" y="76609"/>
                </a:lnTo>
                <a:lnTo>
                  <a:pt x="1415653" y="58266"/>
                </a:lnTo>
                <a:lnTo>
                  <a:pt x="1382204" y="58266"/>
                </a:lnTo>
                <a:lnTo>
                  <a:pt x="1382204" y="31291"/>
                </a:lnTo>
                <a:lnTo>
                  <a:pt x="1415653" y="31291"/>
                </a:lnTo>
                <a:close/>
                <a:moveTo>
                  <a:pt x="374415" y="4316"/>
                </a:moveTo>
                <a:lnTo>
                  <a:pt x="415417" y="4316"/>
                </a:lnTo>
                <a:lnTo>
                  <a:pt x="415417" y="199616"/>
                </a:lnTo>
                <a:cubicBezTo>
                  <a:pt x="415417" y="230547"/>
                  <a:pt x="403907" y="247092"/>
                  <a:pt x="380889" y="249250"/>
                </a:cubicBezTo>
                <a:cubicBezTo>
                  <a:pt x="364344" y="249969"/>
                  <a:pt x="347439" y="250329"/>
                  <a:pt x="330175" y="250329"/>
                </a:cubicBezTo>
                <a:cubicBezTo>
                  <a:pt x="328737" y="243136"/>
                  <a:pt x="326219" y="233425"/>
                  <a:pt x="322622" y="221196"/>
                </a:cubicBezTo>
                <a:cubicBezTo>
                  <a:pt x="321903" y="217599"/>
                  <a:pt x="321184" y="214722"/>
                  <a:pt x="320464" y="212564"/>
                </a:cubicBezTo>
                <a:cubicBezTo>
                  <a:pt x="332693" y="214003"/>
                  <a:pt x="344562" y="214722"/>
                  <a:pt x="356072" y="214722"/>
                </a:cubicBezTo>
                <a:cubicBezTo>
                  <a:pt x="368300" y="214722"/>
                  <a:pt x="374415" y="207529"/>
                  <a:pt x="374415" y="193142"/>
                </a:cubicBezTo>
                <a:close/>
                <a:moveTo>
                  <a:pt x="2383706" y="3237"/>
                </a:moveTo>
                <a:lnTo>
                  <a:pt x="2420392" y="3237"/>
                </a:lnTo>
                <a:lnTo>
                  <a:pt x="2420392" y="47476"/>
                </a:lnTo>
                <a:lnTo>
                  <a:pt x="2444130" y="47476"/>
                </a:lnTo>
                <a:lnTo>
                  <a:pt x="2444130" y="80925"/>
                </a:lnTo>
                <a:lnTo>
                  <a:pt x="2420392" y="80925"/>
                </a:lnTo>
                <a:lnTo>
                  <a:pt x="2420392" y="212564"/>
                </a:lnTo>
                <a:cubicBezTo>
                  <a:pt x="2420392" y="237741"/>
                  <a:pt x="2407804" y="250329"/>
                  <a:pt x="2382627" y="250329"/>
                </a:cubicBezTo>
                <a:cubicBezTo>
                  <a:pt x="2367521" y="251048"/>
                  <a:pt x="2351336" y="251408"/>
                  <a:pt x="2334072" y="251408"/>
                </a:cubicBezTo>
                <a:cubicBezTo>
                  <a:pt x="2332633" y="239899"/>
                  <a:pt x="2329756" y="228030"/>
                  <a:pt x="2325440" y="215801"/>
                </a:cubicBezTo>
                <a:cubicBezTo>
                  <a:pt x="2329036" y="215801"/>
                  <a:pt x="2334431" y="215801"/>
                  <a:pt x="2341625" y="215801"/>
                </a:cubicBezTo>
                <a:cubicBezTo>
                  <a:pt x="2350976" y="216520"/>
                  <a:pt x="2358529" y="216880"/>
                  <a:pt x="2364284" y="216880"/>
                </a:cubicBezTo>
                <a:cubicBezTo>
                  <a:pt x="2377232" y="217599"/>
                  <a:pt x="2383706" y="211845"/>
                  <a:pt x="2383706" y="199616"/>
                </a:cubicBezTo>
                <a:lnTo>
                  <a:pt x="2383706" y="80925"/>
                </a:lnTo>
                <a:lnTo>
                  <a:pt x="2309255" y="80925"/>
                </a:lnTo>
                <a:lnTo>
                  <a:pt x="2309255" y="47476"/>
                </a:lnTo>
                <a:lnTo>
                  <a:pt x="2383706" y="47476"/>
                </a:lnTo>
                <a:close/>
                <a:moveTo>
                  <a:pt x="1274304" y="3237"/>
                </a:moveTo>
                <a:lnTo>
                  <a:pt x="1310990" y="3237"/>
                </a:lnTo>
                <a:lnTo>
                  <a:pt x="1310990" y="156456"/>
                </a:lnTo>
                <a:lnTo>
                  <a:pt x="1345518" y="153219"/>
                </a:lnTo>
                <a:lnTo>
                  <a:pt x="1348755" y="185589"/>
                </a:lnTo>
                <a:lnTo>
                  <a:pt x="1310990" y="188826"/>
                </a:lnTo>
                <a:lnTo>
                  <a:pt x="1310990" y="253566"/>
                </a:lnTo>
                <a:lnTo>
                  <a:pt x="1274304" y="253566"/>
                </a:lnTo>
                <a:lnTo>
                  <a:pt x="1274304" y="192063"/>
                </a:lnTo>
                <a:lnTo>
                  <a:pt x="1195537" y="199616"/>
                </a:lnTo>
                <a:lnTo>
                  <a:pt x="1191221" y="167246"/>
                </a:lnTo>
                <a:lnTo>
                  <a:pt x="1274304" y="159693"/>
                </a:lnTo>
                <a:close/>
                <a:moveTo>
                  <a:pt x="2753097" y="2158"/>
                </a:moveTo>
                <a:lnTo>
                  <a:pt x="2784388" y="5395"/>
                </a:lnTo>
                <a:cubicBezTo>
                  <a:pt x="2783669" y="7553"/>
                  <a:pt x="2782950" y="10790"/>
                  <a:pt x="2782230" y="15106"/>
                </a:cubicBezTo>
                <a:cubicBezTo>
                  <a:pt x="2780072" y="23738"/>
                  <a:pt x="2778634" y="30212"/>
                  <a:pt x="2777914" y="34528"/>
                </a:cubicBezTo>
                <a:lnTo>
                  <a:pt x="2818917" y="34528"/>
                </a:lnTo>
                <a:lnTo>
                  <a:pt x="2818917" y="63661"/>
                </a:lnTo>
                <a:lnTo>
                  <a:pt x="2770361" y="63661"/>
                </a:lnTo>
                <a:cubicBezTo>
                  <a:pt x="2766045" y="83803"/>
                  <a:pt x="2761010" y="103585"/>
                  <a:pt x="2755255" y="123007"/>
                </a:cubicBezTo>
                <a:lnTo>
                  <a:pt x="2769282" y="123007"/>
                </a:lnTo>
                <a:lnTo>
                  <a:pt x="2769282" y="79847"/>
                </a:lnTo>
                <a:lnTo>
                  <a:pt x="2799495" y="79847"/>
                </a:lnTo>
                <a:lnTo>
                  <a:pt x="2799495" y="123007"/>
                </a:lnTo>
                <a:lnTo>
                  <a:pt x="2819996" y="123007"/>
                </a:lnTo>
                <a:lnTo>
                  <a:pt x="2819996" y="153219"/>
                </a:lnTo>
                <a:lnTo>
                  <a:pt x="2799495" y="153219"/>
                </a:lnTo>
                <a:lnTo>
                  <a:pt x="2799495" y="175878"/>
                </a:lnTo>
                <a:cubicBezTo>
                  <a:pt x="2806688" y="175159"/>
                  <a:pt x="2813522" y="174799"/>
                  <a:pt x="2819996" y="174799"/>
                </a:cubicBezTo>
                <a:cubicBezTo>
                  <a:pt x="2819996" y="185589"/>
                  <a:pt x="2819996" y="195660"/>
                  <a:pt x="2819996" y="205011"/>
                </a:cubicBezTo>
                <a:cubicBezTo>
                  <a:pt x="2817118" y="205011"/>
                  <a:pt x="2813522" y="205371"/>
                  <a:pt x="2809206" y="206090"/>
                </a:cubicBezTo>
                <a:cubicBezTo>
                  <a:pt x="2804890" y="206090"/>
                  <a:pt x="2801653" y="206090"/>
                  <a:pt x="2799495" y="206090"/>
                </a:cubicBezTo>
                <a:lnTo>
                  <a:pt x="2799495" y="253566"/>
                </a:lnTo>
                <a:lnTo>
                  <a:pt x="2769282" y="253566"/>
                </a:lnTo>
                <a:lnTo>
                  <a:pt x="2769282" y="208248"/>
                </a:lnTo>
                <a:cubicBezTo>
                  <a:pt x="2748422" y="208967"/>
                  <a:pt x="2732596" y="210046"/>
                  <a:pt x="2721806" y="211485"/>
                </a:cubicBezTo>
                <a:lnTo>
                  <a:pt x="2721806" y="179115"/>
                </a:lnTo>
                <a:cubicBezTo>
                  <a:pt x="2726122" y="178396"/>
                  <a:pt x="2734035" y="178036"/>
                  <a:pt x="2745544" y="178036"/>
                </a:cubicBezTo>
                <a:cubicBezTo>
                  <a:pt x="2755615" y="177317"/>
                  <a:pt x="2763528" y="176957"/>
                  <a:pt x="2769282" y="176957"/>
                </a:cubicBezTo>
                <a:lnTo>
                  <a:pt x="2769282" y="153219"/>
                </a:lnTo>
                <a:lnTo>
                  <a:pt x="2723964" y="153219"/>
                </a:lnTo>
                <a:lnTo>
                  <a:pt x="2723964" y="123007"/>
                </a:lnTo>
                <a:cubicBezTo>
                  <a:pt x="2730438" y="102146"/>
                  <a:pt x="2735833" y="82364"/>
                  <a:pt x="2740149" y="63661"/>
                </a:cubicBezTo>
                <a:lnTo>
                  <a:pt x="2721806" y="63661"/>
                </a:lnTo>
                <a:lnTo>
                  <a:pt x="2721806" y="34528"/>
                </a:lnTo>
                <a:lnTo>
                  <a:pt x="2746623" y="34528"/>
                </a:lnTo>
                <a:cubicBezTo>
                  <a:pt x="2748781" y="23738"/>
                  <a:pt x="2750939" y="12948"/>
                  <a:pt x="2753097" y="2158"/>
                </a:cubicBezTo>
                <a:close/>
                <a:moveTo>
                  <a:pt x="927944" y="2158"/>
                </a:moveTo>
                <a:lnTo>
                  <a:pt x="972183" y="2158"/>
                </a:lnTo>
                <a:lnTo>
                  <a:pt x="965709" y="11869"/>
                </a:lnTo>
                <a:cubicBezTo>
                  <a:pt x="988727" y="44239"/>
                  <a:pt x="1024335" y="71574"/>
                  <a:pt x="1072530" y="93874"/>
                </a:cubicBezTo>
                <a:cubicBezTo>
                  <a:pt x="1067495" y="99628"/>
                  <a:pt x="1061021" y="107901"/>
                  <a:pt x="1053108" y="118691"/>
                </a:cubicBezTo>
                <a:cubicBezTo>
                  <a:pt x="1050950" y="120849"/>
                  <a:pt x="1049511" y="122647"/>
                  <a:pt x="1048792" y="124086"/>
                </a:cubicBezTo>
                <a:cubicBezTo>
                  <a:pt x="1035844" y="117612"/>
                  <a:pt x="1023975" y="110418"/>
                  <a:pt x="1013185" y="102506"/>
                </a:cubicBezTo>
                <a:lnTo>
                  <a:pt x="1013185" y="124086"/>
                </a:lnTo>
                <a:lnTo>
                  <a:pt x="963551" y="124086"/>
                </a:lnTo>
                <a:lnTo>
                  <a:pt x="963551" y="149982"/>
                </a:lnTo>
                <a:lnTo>
                  <a:pt x="1040160" y="149982"/>
                </a:lnTo>
                <a:lnTo>
                  <a:pt x="1040160" y="182352"/>
                </a:lnTo>
                <a:lnTo>
                  <a:pt x="963551" y="182352"/>
                </a:lnTo>
                <a:lnTo>
                  <a:pt x="963551" y="213643"/>
                </a:lnTo>
                <a:lnTo>
                  <a:pt x="1060661" y="213643"/>
                </a:lnTo>
                <a:lnTo>
                  <a:pt x="1060661" y="243855"/>
                </a:lnTo>
                <a:lnTo>
                  <a:pt x="827596" y="243855"/>
                </a:lnTo>
                <a:lnTo>
                  <a:pt x="827596" y="213643"/>
                </a:lnTo>
                <a:lnTo>
                  <a:pt x="924707" y="213643"/>
                </a:lnTo>
                <a:lnTo>
                  <a:pt x="924707" y="182352"/>
                </a:lnTo>
                <a:lnTo>
                  <a:pt x="848097" y="182352"/>
                </a:lnTo>
                <a:lnTo>
                  <a:pt x="848097" y="149982"/>
                </a:lnTo>
                <a:lnTo>
                  <a:pt x="924707" y="149982"/>
                </a:lnTo>
                <a:lnTo>
                  <a:pt x="924707" y="124086"/>
                </a:lnTo>
                <a:lnTo>
                  <a:pt x="875072" y="124086"/>
                </a:lnTo>
                <a:lnTo>
                  <a:pt x="875072" y="103585"/>
                </a:lnTo>
                <a:cubicBezTo>
                  <a:pt x="863563" y="111497"/>
                  <a:pt x="851694" y="119410"/>
                  <a:pt x="839465" y="127323"/>
                </a:cubicBezTo>
                <a:cubicBezTo>
                  <a:pt x="834430" y="120129"/>
                  <a:pt x="826517" y="110059"/>
                  <a:pt x="815727" y="97111"/>
                </a:cubicBezTo>
                <a:cubicBezTo>
                  <a:pt x="871116" y="67618"/>
                  <a:pt x="908522" y="35967"/>
                  <a:pt x="927944" y="2158"/>
                </a:cubicBezTo>
                <a:close/>
                <a:moveTo>
                  <a:pt x="96032" y="2158"/>
                </a:moveTo>
                <a:lnTo>
                  <a:pt x="134876" y="2158"/>
                </a:lnTo>
                <a:lnTo>
                  <a:pt x="134876" y="47476"/>
                </a:lnTo>
                <a:lnTo>
                  <a:pt x="230907" y="47476"/>
                </a:lnTo>
                <a:lnTo>
                  <a:pt x="230907" y="192063"/>
                </a:lnTo>
                <a:lnTo>
                  <a:pt x="192063" y="192063"/>
                </a:lnTo>
                <a:lnTo>
                  <a:pt x="192063" y="173720"/>
                </a:lnTo>
                <a:lnTo>
                  <a:pt x="134876" y="173720"/>
                </a:lnTo>
                <a:lnTo>
                  <a:pt x="134876" y="254645"/>
                </a:lnTo>
                <a:lnTo>
                  <a:pt x="96032" y="254645"/>
                </a:lnTo>
                <a:lnTo>
                  <a:pt x="96032" y="173720"/>
                </a:lnTo>
                <a:lnTo>
                  <a:pt x="37765" y="173720"/>
                </a:lnTo>
                <a:lnTo>
                  <a:pt x="37765" y="192063"/>
                </a:lnTo>
                <a:lnTo>
                  <a:pt x="0" y="192063"/>
                </a:lnTo>
                <a:lnTo>
                  <a:pt x="0" y="47476"/>
                </a:lnTo>
                <a:lnTo>
                  <a:pt x="96032" y="47476"/>
                </a:lnTo>
                <a:close/>
                <a:moveTo>
                  <a:pt x="2947318" y="1079"/>
                </a:moveTo>
                <a:cubicBezTo>
                  <a:pt x="2955950" y="10431"/>
                  <a:pt x="2962784" y="18703"/>
                  <a:pt x="2967819" y="25896"/>
                </a:cubicBezTo>
                <a:lnTo>
                  <a:pt x="2951634" y="35607"/>
                </a:lnTo>
                <a:lnTo>
                  <a:pt x="2975372" y="35607"/>
                </a:lnTo>
                <a:lnTo>
                  <a:pt x="2975372" y="63661"/>
                </a:lnTo>
                <a:lnTo>
                  <a:pt x="2913869" y="63661"/>
                </a:lnTo>
                <a:lnTo>
                  <a:pt x="2913869" y="82005"/>
                </a:lnTo>
                <a:lnTo>
                  <a:pt x="2967819" y="82005"/>
                </a:lnTo>
                <a:lnTo>
                  <a:pt x="2967819" y="222275"/>
                </a:lnTo>
                <a:cubicBezTo>
                  <a:pt x="2968538" y="241697"/>
                  <a:pt x="2959187" y="251408"/>
                  <a:pt x="2939765" y="251408"/>
                </a:cubicBezTo>
                <a:cubicBezTo>
                  <a:pt x="2931852" y="251408"/>
                  <a:pt x="2925019" y="251408"/>
                  <a:pt x="2919264" y="251408"/>
                </a:cubicBezTo>
                <a:cubicBezTo>
                  <a:pt x="2919264" y="250689"/>
                  <a:pt x="2919264" y="249610"/>
                  <a:pt x="2919264" y="248171"/>
                </a:cubicBezTo>
                <a:cubicBezTo>
                  <a:pt x="2918545" y="243855"/>
                  <a:pt x="2916746" y="236302"/>
                  <a:pt x="2913869" y="225512"/>
                </a:cubicBezTo>
                <a:cubicBezTo>
                  <a:pt x="2918185" y="225512"/>
                  <a:pt x="2922501" y="225512"/>
                  <a:pt x="2926817" y="225512"/>
                </a:cubicBezTo>
                <a:cubicBezTo>
                  <a:pt x="2933291" y="225512"/>
                  <a:pt x="2936528" y="222635"/>
                  <a:pt x="2936528" y="216880"/>
                </a:cubicBezTo>
                <a:lnTo>
                  <a:pt x="2936528" y="199616"/>
                </a:lnTo>
                <a:lnTo>
                  <a:pt x="2913869" y="199616"/>
                </a:lnTo>
                <a:lnTo>
                  <a:pt x="2913869" y="225512"/>
                </a:lnTo>
                <a:lnTo>
                  <a:pt x="2913869" y="250329"/>
                </a:lnTo>
                <a:lnTo>
                  <a:pt x="2881499" y="250329"/>
                </a:lnTo>
                <a:lnTo>
                  <a:pt x="2881499" y="199616"/>
                </a:lnTo>
                <a:lnTo>
                  <a:pt x="2858840" y="199616"/>
                </a:lnTo>
                <a:lnTo>
                  <a:pt x="2858840" y="253566"/>
                </a:lnTo>
                <a:lnTo>
                  <a:pt x="2827549" y="253566"/>
                </a:lnTo>
                <a:lnTo>
                  <a:pt x="2827549" y="82005"/>
                </a:lnTo>
                <a:lnTo>
                  <a:pt x="2881499" y="82005"/>
                </a:lnTo>
                <a:lnTo>
                  <a:pt x="2881499" y="63661"/>
                </a:lnTo>
                <a:lnTo>
                  <a:pt x="2825391" y="63661"/>
                </a:lnTo>
                <a:lnTo>
                  <a:pt x="2825391" y="35607"/>
                </a:lnTo>
                <a:lnTo>
                  <a:pt x="2881499" y="35607"/>
                </a:lnTo>
                <a:lnTo>
                  <a:pt x="2881499" y="3237"/>
                </a:lnTo>
                <a:lnTo>
                  <a:pt x="2913869" y="3237"/>
                </a:lnTo>
                <a:lnTo>
                  <a:pt x="2913869" y="35607"/>
                </a:lnTo>
                <a:lnTo>
                  <a:pt x="2938686" y="35607"/>
                </a:lnTo>
                <a:cubicBezTo>
                  <a:pt x="2937967" y="34169"/>
                  <a:pt x="2936888" y="32370"/>
                  <a:pt x="2935449" y="30212"/>
                </a:cubicBezTo>
                <a:cubicBezTo>
                  <a:pt x="2932572" y="26616"/>
                  <a:pt x="2928615" y="21580"/>
                  <a:pt x="2923580" y="15106"/>
                </a:cubicBezTo>
                <a:close/>
                <a:moveTo>
                  <a:pt x="1784673" y="1079"/>
                </a:moveTo>
                <a:cubicBezTo>
                  <a:pt x="1786112" y="4676"/>
                  <a:pt x="1788989" y="10790"/>
                  <a:pt x="1793305" y="19422"/>
                </a:cubicBezTo>
                <a:cubicBezTo>
                  <a:pt x="1790428" y="13668"/>
                  <a:pt x="1791147" y="15466"/>
                  <a:pt x="1795463" y="24817"/>
                </a:cubicBezTo>
                <a:lnTo>
                  <a:pt x="1895810" y="24817"/>
                </a:lnTo>
                <a:lnTo>
                  <a:pt x="1895810" y="52871"/>
                </a:lnTo>
                <a:lnTo>
                  <a:pt x="1831070" y="52871"/>
                </a:lnTo>
                <a:cubicBezTo>
                  <a:pt x="1833947" y="55029"/>
                  <a:pt x="1838263" y="57907"/>
                  <a:pt x="1844018" y="61503"/>
                </a:cubicBezTo>
                <a:cubicBezTo>
                  <a:pt x="1862721" y="73013"/>
                  <a:pt x="1878906" y="83443"/>
                  <a:pt x="1892573" y="92795"/>
                </a:cubicBezTo>
                <a:lnTo>
                  <a:pt x="1868835" y="112217"/>
                </a:lnTo>
                <a:cubicBezTo>
                  <a:pt x="1867396" y="110778"/>
                  <a:pt x="1864519" y="108980"/>
                  <a:pt x="1860203" y="106822"/>
                </a:cubicBezTo>
                <a:cubicBezTo>
                  <a:pt x="1855168" y="103225"/>
                  <a:pt x="1851571" y="100348"/>
                  <a:pt x="1849413" y="98190"/>
                </a:cubicBezTo>
                <a:cubicBezTo>
                  <a:pt x="1764531" y="100348"/>
                  <a:pt x="1706265" y="102865"/>
                  <a:pt x="1674614" y="105743"/>
                </a:cubicBezTo>
                <a:lnTo>
                  <a:pt x="1663824" y="79847"/>
                </a:lnTo>
                <a:cubicBezTo>
                  <a:pt x="1680369" y="72653"/>
                  <a:pt x="1696554" y="63661"/>
                  <a:pt x="1712380" y="52871"/>
                </a:cubicBezTo>
                <a:lnTo>
                  <a:pt x="1650876" y="52871"/>
                </a:lnTo>
                <a:lnTo>
                  <a:pt x="1650876" y="24817"/>
                </a:lnTo>
                <a:lnTo>
                  <a:pt x="1754461" y="24817"/>
                </a:lnTo>
                <a:cubicBezTo>
                  <a:pt x="1750864" y="18343"/>
                  <a:pt x="1747987" y="11869"/>
                  <a:pt x="1745829" y="5395"/>
                </a:cubicBezTo>
                <a:close/>
                <a:moveTo>
                  <a:pt x="668983" y="0"/>
                </a:moveTo>
                <a:cubicBezTo>
                  <a:pt x="671141" y="2878"/>
                  <a:pt x="674378" y="8273"/>
                  <a:pt x="678694" y="16185"/>
                </a:cubicBezTo>
                <a:cubicBezTo>
                  <a:pt x="685168" y="26256"/>
                  <a:pt x="690203" y="34169"/>
                  <a:pt x="693800" y="39923"/>
                </a:cubicBezTo>
                <a:lnTo>
                  <a:pt x="675457" y="48555"/>
                </a:lnTo>
                <a:lnTo>
                  <a:pt x="706748" y="48555"/>
                </a:lnTo>
                <a:cubicBezTo>
                  <a:pt x="713222" y="39923"/>
                  <a:pt x="721494" y="27695"/>
                  <a:pt x="731565" y="11869"/>
                </a:cubicBezTo>
                <a:cubicBezTo>
                  <a:pt x="733723" y="8273"/>
                  <a:pt x="735521" y="5755"/>
                  <a:pt x="736960" y="4316"/>
                </a:cubicBezTo>
                <a:lnTo>
                  <a:pt x="771488" y="23738"/>
                </a:lnTo>
                <a:cubicBezTo>
                  <a:pt x="769330" y="26616"/>
                  <a:pt x="766093" y="30572"/>
                  <a:pt x="761777" y="35607"/>
                </a:cubicBezTo>
                <a:cubicBezTo>
                  <a:pt x="756742" y="41362"/>
                  <a:pt x="753145" y="45678"/>
                  <a:pt x="750987" y="48555"/>
                </a:cubicBezTo>
                <a:lnTo>
                  <a:pt x="787673" y="48555"/>
                </a:lnTo>
                <a:lnTo>
                  <a:pt x="787673" y="112217"/>
                </a:lnTo>
                <a:lnTo>
                  <a:pt x="752066" y="112217"/>
                </a:lnTo>
                <a:lnTo>
                  <a:pt x="752066" y="79847"/>
                </a:lnTo>
                <a:lnTo>
                  <a:pt x="583741" y="79847"/>
                </a:lnTo>
                <a:lnTo>
                  <a:pt x="583741" y="112217"/>
                </a:lnTo>
                <a:lnTo>
                  <a:pt x="548134" y="112217"/>
                </a:lnTo>
                <a:lnTo>
                  <a:pt x="548134" y="48555"/>
                </a:lnTo>
                <a:lnTo>
                  <a:pt x="590215" y="48555"/>
                </a:lnTo>
                <a:cubicBezTo>
                  <a:pt x="583022" y="38485"/>
                  <a:pt x="575469" y="29133"/>
                  <a:pt x="567556" y="20501"/>
                </a:cubicBezTo>
                <a:lnTo>
                  <a:pt x="594531" y="2158"/>
                </a:lnTo>
                <a:cubicBezTo>
                  <a:pt x="605321" y="13668"/>
                  <a:pt x="616111" y="26616"/>
                  <a:pt x="626901" y="41002"/>
                </a:cubicBezTo>
                <a:lnTo>
                  <a:pt x="615032" y="48555"/>
                </a:lnTo>
                <a:lnTo>
                  <a:pt x="658193" y="48555"/>
                </a:lnTo>
                <a:cubicBezTo>
                  <a:pt x="655315" y="43520"/>
                  <a:pt x="650999" y="36327"/>
                  <a:pt x="645245" y="26975"/>
                </a:cubicBezTo>
                <a:cubicBezTo>
                  <a:pt x="641648" y="21221"/>
                  <a:pt x="639130" y="16905"/>
                  <a:pt x="637692" y="14027"/>
                </a:cubicBezTo>
                <a:close/>
              </a:path>
            </a:pathLst>
          </a:custGeom>
          <a:solidFill>
            <a:srgbClr val="016259"/>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kumimoji="1" lang="zh-CN" altLang="en-US" sz="2200" b="0" dirty="0">
              <a:solidFill>
                <a:schemeClr val="bg1"/>
              </a:solidFill>
              <a:latin typeface="Wingdings 2" panose="05020102010507070707" pitchFamily="18" charset="2"/>
              <a:ea typeface="方正兰亭粗黑简体" panose="02000000000000000000" pitchFamily="2" charset="-122"/>
            </a:endParaRPr>
          </a:p>
        </p:txBody>
      </p:sp>
      <p:pic>
        <p:nvPicPr>
          <p:cNvPr id="8" name="图片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E5DC9FA0-E3DE-4341-859F-99F24F7A0261}" type="datetime1">
              <a:rPr lang="zh-CN" altLang="en-US" smtClean="0"/>
              <a:t>2024/6/7</a:t>
            </a:fld>
            <a:endParaRPr lang="zh-CN" altLang="en-US"/>
          </a:p>
        </p:txBody>
      </p:sp>
      <p:sp>
        <p:nvSpPr>
          <p:cNvPr id="5" name="页脚占位符 4"/>
          <p:cNvSpPr>
            <a:spLocks noGrp="1"/>
          </p:cNvSpPr>
          <p:nvPr>
            <p:ph type="ftr" sz="quarter" idx="11"/>
          </p:nvPr>
        </p:nvSpPr>
        <p:spPr/>
        <p:txBody>
          <a:bodyPr/>
          <a:lstStyle/>
          <a:p>
            <a:r>
              <a:rPr lang="en-US" altLang="zh-CN"/>
              <a:t>1</a:t>
            </a:r>
            <a:endParaRPr lang="zh-CN" altLang="en-US"/>
          </a:p>
        </p:txBody>
      </p:sp>
      <p:sp>
        <p:nvSpPr>
          <p:cNvPr id="6" name="灯片编号占位符 5"/>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E22D5869-C3D4-469A-AE61-ECDB87CBD639}" type="datetime1">
              <a:rPr lang="zh-CN" altLang="en-US" smtClean="0"/>
              <a:t>2024/6/7</a:t>
            </a:fld>
            <a:endParaRPr lang="zh-CN" altLang="en-US"/>
          </a:p>
        </p:txBody>
      </p:sp>
      <p:sp>
        <p:nvSpPr>
          <p:cNvPr id="5" name="页脚占位符 4"/>
          <p:cNvSpPr>
            <a:spLocks noGrp="1"/>
          </p:cNvSpPr>
          <p:nvPr>
            <p:ph type="ftr" sz="quarter" idx="11"/>
          </p:nvPr>
        </p:nvSpPr>
        <p:spPr/>
        <p:txBody>
          <a:bodyPr/>
          <a:lstStyle/>
          <a:p>
            <a:r>
              <a:rPr lang="en-US" altLang="zh-CN"/>
              <a:t>1</a:t>
            </a:r>
            <a:endParaRPr lang="zh-CN" altLang="en-US"/>
          </a:p>
        </p:txBody>
      </p:sp>
      <p:sp>
        <p:nvSpPr>
          <p:cNvPr id="6" name="灯片编号占位符 5"/>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90697D92-3A49-44D2-B095-DF3589130D28}" type="datetime1">
              <a:rPr lang="zh-CN" altLang="en-US" smtClean="0"/>
              <a:t>2024/6/7</a:t>
            </a:fld>
            <a:endParaRPr lang="zh-CN" altLang="en-US"/>
          </a:p>
        </p:txBody>
      </p:sp>
      <p:sp>
        <p:nvSpPr>
          <p:cNvPr id="5" name="页脚占位符 4"/>
          <p:cNvSpPr>
            <a:spLocks noGrp="1"/>
          </p:cNvSpPr>
          <p:nvPr>
            <p:ph type="ftr" sz="quarter" idx="11"/>
          </p:nvPr>
        </p:nvSpPr>
        <p:spPr/>
        <p:txBody>
          <a:bodyPr/>
          <a:lstStyle/>
          <a:p>
            <a:r>
              <a:rPr lang="en-US" altLang="zh-CN"/>
              <a:t>1</a:t>
            </a:r>
            <a:endParaRPr lang="zh-CN" altLang="en-US"/>
          </a:p>
        </p:txBody>
      </p:sp>
      <p:sp>
        <p:nvSpPr>
          <p:cNvPr id="6" name="灯片编号占位符 5"/>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615B9BFA-EED5-4269-AA24-F01ACFEC5135}" type="datetime1">
              <a:rPr lang="zh-CN" altLang="en-US" smtClean="0"/>
              <a:t>2024/6/7</a:t>
            </a:fld>
            <a:endParaRPr lang="zh-CN" altLang="en-US"/>
          </a:p>
        </p:txBody>
      </p:sp>
      <p:sp>
        <p:nvSpPr>
          <p:cNvPr id="5" name="页脚占位符 4"/>
          <p:cNvSpPr>
            <a:spLocks noGrp="1"/>
          </p:cNvSpPr>
          <p:nvPr>
            <p:ph type="ftr" sz="quarter" idx="11"/>
          </p:nvPr>
        </p:nvSpPr>
        <p:spPr/>
        <p:txBody>
          <a:bodyPr/>
          <a:lstStyle/>
          <a:p>
            <a:r>
              <a:rPr lang="en-US" altLang="zh-CN"/>
              <a:t>1</a:t>
            </a:r>
            <a:endParaRPr lang="zh-CN" altLang="en-US"/>
          </a:p>
        </p:txBody>
      </p:sp>
      <p:sp>
        <p:nvSpPr>
          <p:cNvPr id="6" name="灯片编号占位符 5"/>
          <p:cNvSpPr>
            <a:spLocks noGrp="1"/>
          </p:cNvSpPr>
          <p:nvPr>
            <p:ph type="sldNum" sz="quarter" idx="12"/>
          </p:nvPr>
        </p:nvSpPr>
        <p:spPr/>
        <p:txBody>
          <a:bodyPr/>
          <a:lstStyle/>
          <a:p>
            <a:fld id="{718929A7-BED7-489C-BC02-D20B9FB58884}" type="slidenum">
              <a:rPr lang="zh-CN" altLang="en-US" smtClean="0"/>
              <a:t>‹#›</a:t>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A85723AF-D434-4DEB-8B04-46D55C0D3BD2}" type="datetime1">
              <a:rPr lang="zh-CN" altLang="en-US" smtClean="0"/>
              <a:t>2024/6/7</a:t>
            </a:fld>
            <a:endParaRPr lang="zh-CN" altLang="en-US"/>
          </a:p>
        </p:txBody>
      </p:sp>
      <p:sp>
        <p:nvSpPr>
          <p:cNvPr id="6" name="页脚占位符 5"/>
          <p:cNvSpPr>
            <a:spLocks noGrp="1"/>
          </p:cNvSpPr>
          <p:nvPr>
            <p:ph type="ftr" sz="quarter" idx="11"/>
          </p:nvPr>
        </p:nvSpPr>
        <p:spPr/>
        <p:txBody>
          <a:bodyPr/>
          <a:lstStyle/>
          <a:p>
            <a:r>
              <a:rPr lang="en-US" altLang="zh-CN"/>
              <a:t>1</a:t>
            </a:r>
            <a:endParaRPr lang="zh-CN" altLang="en-US"/>
          </a:p>
        </p:txBody>
      </p:sp>
      <p:sp>
        <p:nvSpPr>
          <p:cNvPr id="7" name="灯片编号占位符 6"/>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1186774" y="1778438"/>
            <a:ext cx="4873574" cy="823912"/>
          </a:xfrm>
        </p:spPr>
        <p:txBody>
          <a:bodyPr anchor="ctr" anchorCtr="0"/>
          <a:lstStyle>
            <a:lvl1pPr marL="0" indent="0">
              <a:buNone/>
              <a:defRPr sz="2800"/>
            </a:lvl1pPr>
            <a:lvl2pPr marL="457200" indent="0">
              <a:buNone/>
              <a:defRPr sz="2400"/>
            </a:lvl2pPr>
            <a:lvl3pPr marL="914400" indent="0">
              <a:buNone/>
              <a:defRPr sz="2000"/>
            </a:lvl3pPr>
            <a:lvl4pPr marL="1371600" indent="0">
              <a:buNone/>
              <a:defRPr sz="1800"/>
            </a:lvl4pPr>
            <a:lvl5pPr marL="1828800" indent="0">
              <a:buNone/>
              <a:defRPr sz="1800"/>
            </a:lvl5pPr>
            <a:lvl6pPr marL="2286000" indent="0">
              <a:buNone/>
              <a:defRPr sz="1800"/>
            </a:lvl6pPr>
            <a:lvl7pPr marL="2743200" indent="0">
              <a:buNone/>
              <a:defRPr sz="1800"/>
            </a:lvl7pPr>
            <a:lvl8pPr marL="3200400" indent="0">
              <a:buNone/>
              <a:defRPr sz="1800"/>
            </a:lvl8pPr>
            <a:lvl9pPr marL="3657600" indent="0">
              <a:buNone/>
              <a:defRPr sz="1800"/>
            </a:lvl9pPr>
          </a:lstStyle>
          <a:p>
            <a:pPr lvl="0"/>
            <a:r>
              <a:rPr lang="zh-CN" altLang="en-US"/>
              <a:t>单击此处编辑母版文本样式</a:t>
            </a:r>
          </a:p>
        </p:txBody>
      </p:sp>
      <p:sp>
        <p:nvSpPr>
          <p:cNvPr id="4" name="内容占位符 3"/>
          <p:cNvSpPr>
            <a:spLocks noGrp="1"/>
          </p:cNvSpPr>
          <p:nvPr>
            <p:ph sz="half" idx="2"/>
          </p:nvPr>
        </p:nvSpPr>
        <p:spPr>
          <a:xfrm>
            <a:off x="1186774" y="2665379"/>
            <a:ext cx="4873574" cy="3524284"/>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256938" y="1778438"/>
            <a:ext cx="4897576" cy="823912"/>
          </a:xfrm>
        </p:spPr>
        <p:txBody>
          <a:bodyPr anchor="ctr" anchorCtr="0"/>
          <a:lstStyle>
            <a:lvl1pPr marL="0" indent="0">
              <a:buNone/>
              <a:defRPr sz="2800"/>
            </a:lvl1pPr>
            <a:lvl2pPr marL="457200" indent="0">
              <a:buNone/>
              <a:defRPr sz="2400"/>
            </a:lvl2pPr>
            <a:lvl3pPr marL="914400" indent="0">
              <a:buNone/>
              <a:defRPr sz="2000"/>
            </a:lvl3pPr>
            <a:lvl4pPr marL="1371600" indent="0">
              <a:buNone/>
              <a:defRPr sz="1800"/>
            </a:lvl4pPr>
            <a:lvl5pPr marL="1828800" indent="0">
              <a:buNone/>
              <a:defRPr sz="1800"/>
            </a:lvl5pPr>
            <a:lvl6pPr marL="2286000" indent="0">
              <a:buNone/>
              <a:defRPr sz="1800"/>
            </a:lvl6pPr>
            <a:lvl7pPr marL="2743200" indent="0">
              <a:buNone/>
              <a:defRPr sz="1800"/>
            </a:lvl7pPr>
            <a:lvl8pPr marL="3200400" indent="0">
              <a:buNone/>
              <a:defRPr sz="1800"/>
            </a:lvl8pPr>
            <a:lvl9pPr marL="3657600" indent="0">
              <a:buNone/>
              <a:defRPr sz="1800"/>
            </a:lvl9pPr>
          </a:lstStyle>
          <a:p>
            <a:pPr lvl="0"/>
            <a:r>
              <a:rPr lang="zh-CN" altLang="en-US"/>
              <a:t>单击此处编辑母版文本样式</a:t>
            </a:r>
          </a:p>
        </p:txBody>
      </p:sp>
      <p:sp>
        <p:nvSpPr>
          <p:cNvPr id="6" name="内容占位符 5"/>
          <p:cNvSpPr>
            <a:spLocks noGrp="1"/>
          </p:cNvSpPr>
          <p:nvPr>
            <p:ph sz="quarter" idx="4"/>
          </p:nvPr>
        </p:nvSpPr>
        <p:spPr>
          <a:xfrm>
            <a:off x="6256938" y="2665379"/>
            <a:ext cx="4897576" cy="3524284"/>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C8353D0F-C436-4C83-857C-511824DBAE8B}" type="datetime1">
              <a:rPr lang="zh-CN" altLang="en-US" smtClean="0"/>
              <a:t>2024/6/7</a:t>
            </a:fld>
            <a:endParaRPr lang="zh-CN" altLang="en-US"/>
          </a:p>
        </p:txBody>
      </p:sp>
      <p:sp>
        <p:nvSpPr>
          <p:cNvPr id="8" name="页脚占位符 7"/>
          <p:cNvSpPr>
            <a:spLocks noGrp="1"/>
          </p:cNvSpPr>
          <p:nvPr>
            <p:ph type="ftr" sz="quarter" idx="11"/>
          </p:nvPr>
        </p:nvSpPr>
        <p:spPr/>
        <p:txBody>
          <a:bodyPr/>
          <a:lstStyle/>
          <a:p>
            <a:r>
              <a:rPr lang="en-US" altLang="zh-CN"/>
              <a:t>1</a:t>
            </a:r>
            <a:endParaRPr lang="zh-CN" altLang="en-US"/>
          </a:p>
        </p:txBody>
      </p:sp>
      <p:sp>
        <p:nvSpPr>
          <p:cNvPr id="9" name="灯片编号占位符 8"/>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C4AA1B8C-503C-46CD-955F-5F288CB9D419}" type="datetime1">
              <a:rPr lang="zh-CN" altLang="en-US" smtClean="0"/>
              <a:t>2024/6/7</a:t>
            </a:fld>
            <a:endParaRPr lang="zh-CN" altLang="en-US"/>
          </a:p>
        </p:txBody>
      </p:sp>
      <p:sp>
        <p:nvSpPr>
          <p:cNvPr id="4" name="页脚占位符 3"/>
          <p:cNvSpPr>
            <a:spLocks noGrp="1"/>
          </p:cNvSpPr>
          <p:nvPr>
            <p:ph type="ftr" sz="quarter" idx="11"/>
          </p:nvPr>
        </p:nvSpPr>
        <p:spPr/>
        <p:txBody>
          <a:bodyPr/>
          <a:lstStyle/>
          <a:p>
            <a:r>
              <a:rPr lang="en-US" altLang="zh-CN"/>
              <a:t>1</a:t>
            </a:r>
            <a:endParaRPr lang="zh-CN" altLang="en-US"/>
          </a:p>
        </p:txBody>
      </p:sp>
      <p:sp>
        <p:nvSpPr>
          <p:cNvPr id="5" name="灯片编号占位符 4"/>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AC4B5110-BEE0-49C1-9E41-C861BA624618}" type="datetime1">
              <a:rPr lang="zh-CN" altLang="en-US" smtClean="0"/>
              <a:t>2024/6/7</a:t>
            </a:fld>
            <a:endParaRPr lang="zh-CN" altLang="en-US"/>
          </a:p>
        </p:txBody>
      </p:sp>
      <p:sp>
        <p:nvSpPr>
          <p:cNvPr id="3" name="页脚占位符 2"/>
          <p:cNvSpPr>
            <a:spLocks noGrp="1"/>
          </p:cNvSpPr>
          <p:nvPr>
            <p:ph type="ftr" sz="quarter" idx="11"/>
          </p:nvPr>
        </p:nvSpPr>
        <p:spPr/>
        <p:txBody>
          <a:bodyPr/>
          <a:lstStyle/>
          <a:p>
            <a:r>
              <a:rPr lang="en-US" altLang="zh-CN"/>
              <a:t>1</a:t>
            </a:r>
            <a:endParaRPr lang="zh-CN" altLang="en-US"/>
          </a:p>
        </p:txBody>
      </p:sp>
      <p:sp>
        <p:nvSpPr>
          <p:cNvPr id="4" name="灯片编号占位符 3"/>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4165349"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457201"/>
            <a:ext cx="6172200" cy="5403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4165349" cy="3811588"/>
          </a:xfrm>
        </p:spPr>
        <p:txBody>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C8D6D7A-8F7C-44BB-8381-FDC952C1E7F6}" type="datetime1">
              <a:rPr lang="zh-CN" altLang="en-US" smtClean="0"/>
              <a:t>2024/6/7</a:t>
            </a:fld>
            <a:endParaRPr lang="zh-CN" altLang="en-US"/>
          </a:p>
        </p:txBody>
      </p:sp>
      <p:sp>
        <p:nvSpPr>
          <p:cNvPr id="6" name="页脚占位符 5"/>
          <p:cNvSpPr>
            <a:spLocks noGrp="1"/>
          </p:cNvSpPr>
          <p:nvPr>
            <p:ph type="ftr" sz="quarter" idx="11"/>
          </p:nvPr>
        </p:nvSpPr>
        <p:spPr/>
        <p:txBody>
          <a:bodyPr/>
          <a:lstStyle/>
          <a:p>
            <a:r>
              <a:rPr lang="en-US" altLang="zh-CN"/>
              <a:t>1</a:t>
            </a:r>
            <a:endParaRPr lang="zh-CN" altLang="en-US"/>
          </a:p>
        </p:txBody>
      </p:sp>
      <p:sp>
        <p:nvSpPr>
          <p:cNvPr id="7" name="灯片编号占位符 6"/>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竖版">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3748B409-6732-4294-9832-6ECAA5E66E9C}" type="datetime1">
              <a:rPr lang="zh-CN" altLang="en-US" smtClean="0"/>
              <a:t>2024/6/7</a:t>
            </a:fld>
            <a:endParaRPr lang="zh-CN" altLang="en-US"/>
          </a:p>
        </p:txBody>
      </p:sp>
      <p:sp>
        <p:nvSpPr>
          <p:cNvPr id="5" name="页脚占位符 4"/>
          <p:cNvSpPr>
            <a:spLocks noGrp="1"/>
          </p:cNvSpPr>
          <p:nvPr>
            <p:ph type="ftr" sz="quarter" idx="11"/>
          </p:nvPr>
        </p:nvSpPr>
        <p:spPr/>
        <p:txBody>
          <a:bodyPr/>
          <a:lstStyle/>
          <a:p>
            <a:r>
              <a:rPr lang="en-US" altLang="zh-CN"/>
              <a:t>1</a:t>
            </a:r>
            <a:endParaRPr lang="zh-CN" altLang="en-US"/>
          </a:p>
        </p:txBody>
      </p:sp>
      <p:sp>
        <p:nvSpPr>
          <p:cNvPr id="6" name="灯片编号占位符 5"/>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838200" y="365125"/>
            <a:ext cx="10515600" cy="58118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3" name="日期占位符 2"/>
          <p:cNvSpPr>
            <a:spLocks noGrp="1"/>
          </p:cNvSpPr>
          <p:nvPr>
            <p:ph type="dt" sz="half" idx="10"/>
          </p:nvPr>
        </p:nvSpPr>
        <p:spPr/>
        <p:txBody>
          <a:bodyPr/>
          <a:lstStyle/>
          <a:p>
            <a:fld id="{A6E52F62-75CF-4A7C-AADB-329F165482D6}" type="datetime1">
              <a:rPr lang="zh-CN" altLang="en-US" smtClean="0"/>
              <a:t>2024/6/7</a:t>
            </a:fld>
            <a:endParaRPr lang="zh-CN" altLang="en-US"/>
          </a:p>
        </p:txBody>
      </p:sp>
      <p:sp>
        <p:nvSpPr>
          <p:cNvPr id="4" name="页脚占位符 3"/>
          <p:cNvSpPr>
            <a:spLocks noGrp="1"/>
          </p:cNvSpPr>
          <p:nvPr>
            <p:ph type="ftr" sz="quarter" idx="11"/>
          </p:nvPr>
        </p:nvSpPr>
        <p:spPr/>
        <p:txBody>
          <a:bodyPr/>
          <a:lstStyle/>
          <a:p>
            <a:r>
              <a:rPr lang="en-US" altLang="zh-CN"/>
              <a:t>1</a:t>
            </a:r>
            <a:endParaRPr lang="zh-CN" altLang="en-US"/>
          </a:p>
        </p:txBody>
      </p:sp>
      <p:sp>
        <p:nvSpPr>
          <p:cNvPr id="5" name="灯片编号占位符 4"/>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6_自定义版式">
    <p:spTree>
      <p:nvGrpSpPr>
        <p:cNvPr id="1" name=""/>
        <p:cNvGrpSpPr/>
        <p:nvPr/>
      </p:nvGrpSpPr>
      <p:grpSpPr>
        <a:xfrm>
          <a:off x="0" y="0"/>
          <a:ext cx="0" cy="0"/>
          <a:chOff x="0" y="0"/>
          <a:chExt cx="0" cy="0"/>
        </a:xfrm>
      </p:grpSpPr>
      <p:sp>
        <p:nvSpPr>
          <p:cNvPr id="9" name="灯片编号占位符 5"/>
          <p:cNvSpPr>
            <a:spLocks noGrp="1"/>
          </p:cNvSpPr>
          <p:nvPr>
            <p:ph type="sldNum" sz="quarter" idx="4"/>
          </p:nvPr>
        </p:nvSpPr>
        <p:spPr>
          <a:xfrm>
            <a:off x="9293413" y="6546903"/>
            <a:ext cx="2742447" cy="364275"/>
          </a:xfrm>
          <a:prstGeom prst="rect">
            <a:avLst/>
          </a:prstGeom>
        </p:spPr>
        <p:txBody>
          <a:bodyPr vert="horz" lIns="91440" tIns="45720" rIns="91440" bIns="45720" rtlCol="0" anchor="ctr"/>
          <a:lstStyle>
            <a:lvl1pPr algn="r">
              <a:defRPr sz="1420" b="1">
                <a:solidFill>
                  <a:srgbClr val="074A9C"/>
                </a:solidFill>
                <a:latin typeface="微软雅黑" panose="020B0503020204020204" charset="-122"/>
                <a:ea typeface="微软雅黑" panose="020B0503020204020204" charset="-122"/>
              </a:defRPr>
            </a:lvl1pPr>
          </a:lstStyle>
          <a:p>
            <a:fld id="{118D5ACA-62CA-46DB-AD6B-12EDD6D51A23}" type="slidenum">
              <a:rPr lang="zh-CN" altLang="en-US" smtClean="0"/>
              <a:t>‹#›</a:t>
            </a:fld>
            <a:endParaRPr lang="zh-CN" altLang="en-US" dirty="0"/>
          </a:p>
        </p:txBody>
      </p:sp>
      <p:pic>
        <p:nvPicPr>
          <p:cNvPr id="2" name="图片 1"/>
          <p:cNvPicPr>
            <a:picLocks noChangeAspect="1"/>
          </p:cNvPicPr>
          <p:nvPr userDrawn="1"/>
        </p:nvPicPr>
        <p:blipFill rotWithShape="1">
          <a:blip r:embed="rId2" cstate="print">
            <a:extLst>
              <a:ext uri="{28A0092B-C50C-407E-A947-70E740481C1C}">
                <a14:useLocalDpi xmlns:a14="http://schemas.microsoft.com/office/drawing/2010/main" val="0"/>
              </a:ext>
            </a:extLst>
          </a:blip>
          <a:srcRect l="65985" t="2099"/>
          <a:stretch>
            <a:fillRect/>
          </a:stretch>
        </p:blipFill>
        <p:spPr>
          <a:xfrm>
            <a:off x="11080020" y="219934"/>
            <a:ext cx="906100" cy="467910"/>
          </a:xfrm>
          <a:prstGeom prst="rect">
            <a:avLst/>
          </a:prstGeom>
        </p:spPr>
      </p:pic>
      <p:pic>
        <p:nvPicPr>
          <p:cNvPr id="8" name="图片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93413" y="115148"/>
            <a:ext cx="1774969" cy="582733"/>
          </a:xfrm>
          <a:prstGeom prst="rect">
            <a:avLst/>
          </a:prstGeom>
        </p:spPr>
      </p:pic>
    </p:spTree>
  </p:cSld>
  <p:clrMapOvr>
    <a:masterClrMapping/>
  </p:clrMapOvr>
  <p:transition spd="slow" advClick="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a:xfrm>
            <a:off x="838200" y="6356350"/>
            <a:ext cx="2743200" cy="365125"/>
          </a:xfrm>
        </p:spPr>
        <p:txBody>
          <a:bodyPr/>
          <a:lstStyle/>
          <a:p>
            <a:fld id="{BC9CF323-2B18-4038-A337-073F34673102}" type="datetime1">
              <a:rPr lang="zh-CN" altLang="en-US" smtClean="0"/>
              <a:t>2024/6/7</a:t>
            </a:fld>
            <a:endParaRPr lang="zh-CN" altLang="en-US"/>
          </a:p>
        </p:txBody>
      </p:sp>
      <p:sp>
        <p:nvSpPr>
          <p:cNvPr id="4" name="页脚占位符 3"/>
          <p:cNvSpPr>
            <a:spLocks noGrp="1"/>
          </p:cNvSpPr>
          <p:nvPr>
            <p:ph type="ftr" sz="quarter" idx="11"/>
          </p:nvPr>
        </p:nvSpPr>
        <p:spPr>
          <a:xfrm>
            <a:off x="4038600" y="6356350"/>
            <a:ext cx="4114800" cy="365125"/>
          </a:xfrm>
        </p:spPr>
        <p:txBody>
          <a:bodyPr/>
          <a:lstStyle/>
          <a:p>
            <a:r>
              <a:rPr lang="en-US" altLang="zh-CN"/>
              <a:t>1</a:t>
            </a:r>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t>‹#›</a:t>
            </a:fld>
            <a:endParaRPr lang="zh-CN" altLang="en-US"/>
          </a:p>
        </p:txBody>
      </p:sp>
    </p:spTree>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x" preserve="1">
  <p:cSld name="标题和文本">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文本占位符 2"/>
          <p:cNvSpPr>
            <a:spLocks noGrp="1"/>
          </p:cNvSpPr>
          <p:nvPr>
            <p:ph type="body"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AB1CB738-BC43-4ADF-A293-3FDF92B23540}" type="datetime1">
              <a:rPr lang="zh-CN" altLang="en-US" smtClean="0"/>
              <a:t>2024/6/7</a:t>
            </a:fld>
            <a:endParaRPr lang="zh-CN" altLang="en-US"/>
          </a:p>
        </p:txBody>
      </p:sp>
      <p:sp>
        <p:nvSpPr>
          <p:cNvPr id="5" name="页脚占位符 4"/>
          <p:cNvSpPr>
            <a:spLocks noGrp="1"/>
          </p:cNvSpPr>
          <p:nvPr>
            <p:ph type="ftr" sz="quarter" idx="11"/>
          </p:nvPr>
        </p:nvSpPr>
        <p:spPr/>
        <p:txBody>
          <a:bodyPr/>
          <a:lstStyle/>
          <a:p>
            <a:r>
              <a:rPr lang="en-US" altLang="zh-CN"/>
              <a:t>1</a:t>
            </a:r>
            <a:endParaRPr lang="zh-CN" altLang="en-US"/>
          </a:p>
        </p:txBody>
      </p:sp>
      <p:sp>
        <p:nvSpPr>
          <p:cNvPr id="6" name="灯片编号占位符 5"/>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10"/>
          </p:nvPr>
        </p:nvSpPr>
        <p:spPr/>
        <p:txBody>
          <a:bodyPr/>
          <a:lstStyle/>
          <a:p>
            <a:fld id="{D8B9EA07-38DF-46DA-B897-896D7903C796}" type="datetime1">
              <a:rPr lang="zh-CN" altLang="en-US" smtClean="0"/>
              <a:t>2024/6/7</a:t>
            </a:fld>
            <a:endParaRPr lang="zh-CN" altLang="en-US"/>
          </a:p>
        </p:txBody>
      </p:sp>
      <p:sp>
        <p:nvSpPr>
          <p:cNvPr id="6" name="页脚占位符 5"/>
          <p:cNvSpPr>
            <a:spLocks noGrp="1"/>
          </p:cNvSpPr>
          <p:nvPr>
            <p:ph type="ftr" sz="quarter" idx="11"/>
          </p:nvPr>
        </p:nvSpPr>
        <p:spPr/>
        <p:txBody>
          <a:bodyPr/>
          <a:lstStyle/>
          <a:p>
            <a:r>
              <a:rPr lang="en-US" altLang="zh-CN"/>
              <a:t>1</a:t>
            </a:r>
            <a:endParaRPr lang="zh-CN" altLang="en-US"/>
          </a:p>
        </p:txBody>
      </p:sp>
      <p:sp>
        <p:nvSpPr>
          <p:cNvPr id="7" name="灯片编号占位符 6"/>
          <p:cNvSpPr>
            <a:spLocks noGrp="1"/>
          </p:cNvSpPr>
          <p:nvPr>
            <p:ph type="sldNum" sz="quarter" idx="12"/>
          </p:nvPr>
        </p:nvSpPr>
        <p:spPr/>
        <p:txBody>
          <a:bodyPr/>
          <a:lstStyle/>
          <a:p>
            <a:fld id="{718929A7-BED7-489C-BC02-D20B9FB58884}" type="slidenum">
              <a:rPr lang="zh-CN" altLang="en-US" smtClean="0"/>
              <a:t>‹#›</a:t>
            </a:fld>
            <a:endParaRPr lang="zh-CN"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20AC2C10-5D40-46B1-82DF-C5E2BB79C64B}" type="datetime1">
              <a:rPr lang="zh-CN" altLang="en-US" smtClean="0"/>
              <a:t>2024/6/7</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r>
              <a:rPr lang="en-US" altLang="zh-CN"/>
              <a:t>1</a:t>
            </a:r>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t>‹#›</a:t>
            </a:fld>
            <a:endParaRPr lang="zh-CN" alt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838200" y="1825625"/>
            <a:ext cx="10515600" cy="435133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0D08C47A-5893-4DDD-9EAE-AD6B0C7DA08A}" type="datetime1">
              <a:rPr lang="zh-CN" altLang="en-US" smtClean="0"/>
              <a:t>2024/6/7</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r>
              <a:rPr lang="en-US" altLang="zh-CN"/>
              <a:t>1</a:t>
            </a:r>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t>‹#›</a:t>
            </a:fld>
            <a:endParaRPr lang="zh-CN" alt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a:prstGeom prst="rect">
            <a:avLst/>
          </a:prstGeo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60B120DA-E79A-4BF6-A0C1-964EDF80052F}" type="datetime1">
              <a:rPr lang="zh-CN" altLang="en-US" smtClean="0"/>
              <a:t>2024/6/7</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r>
              <a:rPr lang="en-US" altLang="zh-CN"/>
              <a:t>1</a:t>
            </a:r>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t>‹#›</a:t>
            </a:fld>
            <a:endParaRPr lang="zh-CN" alt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p:cNvSpPr>
            <a:spLocks noGrp="1"/>
          </p:cNvSpPr>
          <p:nvPr>
            <p:ph sz="half" idx="2"/>
          </p:nvPr>
        </p:nvSpPr>
        <p:spPr>
          <a:xfrm>
            <a:off x="6172200" y="1825625"/>
            <a:ext cx="5181600" cy="435133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FE85A2A5-BAA7-4ABB-9ED0-19A10F6980C8}" type="datetime1">
              <a:rPr lang="zh-CN" altLang="en-US" smtClean="0"/>
              <a:t>2024/6/7</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r>
              <a:rPr lang="en-US" altLang="zh-CN"/>
              <a:t>1</a:t>
            </a:r>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t>‹#›</a:t>
            </a:fld>
            <a:endParaRPr lang="zh-CN" alt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a:prstGeom prst="rect">
            <a:avLst/>
          </a:prstGeo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p:cNvSpPr>
            <a:spLocks noGrp="1"/>
          </p:cNvSpPr>
          <p:nvPr>
            <p:ph type="dt" sz="half" idx="10"/>
          </p:nvPr>
        </p:nvSpPr>
        <p:spPr>
          <a:xfrm>
            <a:off x="838200" y="6356350"/>
            <a:ext cx="2743200" cy="365125"/>
          </a:xfrm>
          <a:prstGeom prst="rect">
            <a:avLst/>
          </a:prstGeom>
        </p:spPr>
        <p:txBody>
          <a:bodyPr/>
          <a:lstStyle/>
          <a:p>
            <a:fld id="{A58D408A-4014-43A0-9F58-8B82C7A13E8E}" type="datetime1">
              <a:rPr lang="zh-CN" altLang="en-US" smtClean="0"/>
              <a:t>2024/6/7</a:t>
            </a:fld>
            <a:endParaRPr lang="zh-CN" altLang="en-US"/>
          </a:p>
        </p:txBody>
      </p:sp>
      <p:sp>
        <p:nvSpPr>
          <p:cNvPr id="8" name="页脚占位符 7"/>
          <p:cNvSpPr>
            <a:spLocks noGrp="1"/>
          </p:cNvSpPr>
          <p:nvPr>
            <p:ph type="ftr" sz="quarter" idx="11"/>
          </p:nvPr>
        </p:nvSpPr>
        <p:spPr>
          <a:xfrm>
            <a:off x="4038600" y="6356350"/>
            <a:ext cx="4114800" cy="365125"/>
          </a:xfrm>
          <a:prstGeom prst="rect">
            <a:avLst/>
          </a:prstGeom>
        </p:spPr>
        <p:txBody>
          <a:bodyPr/>
          <a:lstStyle/>
          <a:p>
            <a:r>
              <a:rPr lang="en-US" altLang="zh-CN"/>
              <a:t>1</a:t>
            </a:r>
            <a:endParaRPr lang="zh-CN" altLang="en-US"/>
          </a:p>
        </p:txBody>
      </p:sp>
      <p:sp>
        <p:nvSpPr>
          <p:cNvPr id="9" name="灯片编号占位符 8"/>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t>‹#›</a:t>
            </a:fld>
            <a:endParaRPr lang="zh-CN" alt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日期占位符 2"/>
          <p:cNvSpPr>
            <a:spLocks noGrp="1"/>
          </p:cNvSpPr>
          <p:nvPr>
            <p:ph type="dt" sz="half" idx="10"/>
          </p:nvPr>
        </p:nvSpPr>
        <p:spPr>
          <a:xfrm>
            <a:off x="838200" y="6356350"/>
            <a:ext cx="2743200" cy="365125"/>
          </a:xfrm>
          <a:prstGeom prst="rect">
            <a:avLst/>
          </a:prstGeom>
        </p:spPr>
        <p:txBody>
          <a:bodyPr/>
          <a:lstStyle/>
          <a:p>
            <a:fld id="{62E912F3-09E0-439F-BD43-C50BAB1294F6}" type="datetime1">
              <a:rPr lang="zh-CN" altLang="en-US" smtClean="0"/>
              <a:t>2024/6/7</a:t>
            </a:fld>
            <a:endParaRPr lang="zh-CN" altLang="en-US"/>
          </a:p>
        </p:txBody>
      </p:sp>
      <p:sp>
        <p:nvSpPr>
          <p:cNvPr id="4" name="页脚占位符 3"/>
          <p:cNvSpPr>
            <a:spLocks noGrp="1"/>
          </p:cNvSpPr>
          <p:nvPr>
            <p:ph type="ftr" sz="quarter" idx="11"/>
          </p:nvPr>
        </p:nvSpPr>
        <p:spPr>
          <a:xfrm>
            <a:off x="4038600" y="6356350"/>
            <a:ext cx="4114800" cy="365125"/>
          </a:xfrm>
          <a:prstGeom prst="rect">
            <a:avLst/>
          </a:prstGeom>
        </p:spPr>
        <p:txBody>
          <a:bodyPr/>
          <a:lstStyle/>
          <a:p>
            <a:r>
              <a:rPr lang="en-US" altLang="zh-CN"/>
              <a:t>1</a:t>
            </a:r>
            <a:endParaRPr lang="zh-CN" altLang="en-US"/>
          </a:p>
        </p:txBody>
      </p:sp>
      <p:sp>
        <p:nvSpPr>
          <p:cNvPr id="5" name="灯片编号占位符 4"/>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t>‹#›</a:t>
            </a:fld>
            <a:endParaRPr lang="zh-CN" alt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a:prstGeom prst="rect">
            <a:avLst/>
          </a:prstGeom>
        </p:spPr>
        <p:txBody>
          <a:bodyPr/>
          <a:lstStyle/>
          <a:p>
            <a:fld id="{D27E9AC0-5EB0-4A75-B8B3-311831954823}" type="datetime1">
              <a:rPr lang="zh-CN" altLang="en-US" smtClean="0"/>
              <a:t>2024/6/7</a:t>
            </a:fld>
            <a:endParaRPr lang="zh-CN" altLang="en-US"/>
          </a:p>
        </p:txBody>
      </p:sp>
      <p:sp>
        <p:nvSpPr>
          <p:cNvPr id="3" name="页脚占位符 2"/>
          <p:cNvSpPr>
            <a:spLocks noGrp="1"/>
          </p:cNvSpPr>
          <p:nvPr>
            <p:ph type="ftr" sz="quarter" idx="11"/>
          </p:nvPr>
        </p:nvSpPr>
        <p:spPr>
          <a:xfrm>
            <a:off x="4038600" y="6356350"/>
            <a:ext cx="4114800" cy="365125"/>
          </a:xfrm>
          <a:prstGeom prst="rect">
            <a:avLst/>
          </a:prstGeom>
        </p:spPr>
        <p:txBody>
          <a:bodyPr/>
          <a:lstStyle/>
          <a:p>
            <a:r>
              <a:rPr lang="en-US" altLang="zh-CN"/>
              <a:t>1</a:t>
            </a:r>
            <a:endParaRPr lang="zh-CN" altLang="en-US"/>
          </a:p>
        </p:txBody>
      </p:sp>
      <p:sp>
        <p:nvSpPr>
          <p:cNvPr id="4" name="灯片编号占位符 3"/>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t>‹#›</a:t>
            </a:fld>
            <a:endParaRPr lang="zh-CN" alt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a:prstGeom prst="rect">
            <a:avLst/>
          </a:prstGeo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286A65DB-3587-4B75-935E-16C8E5E0E003}" type="datetime1">
              <a:rPr lang="zh-CN" altLang="en-US" smtClean="0"/>
              <a:t>2024/6/7</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r>
              <a:rPr lang="en-US" altLang="zh-CN"/>
              <a:t>1</a:t>
            </a:r>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t>‹#›</a:t>
            </a:fld>
            <a:endParaRPr lang="zh-CN" alt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a:prstGeom prst="rect">
            <a:avLst/>
          </a:prstGeo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0F529D5E-7FE1-4DF1-8457-B8A0E015F93D}" type="datetime1">
              <a:rPr lang="zh-CN" altLang="en-US" smtClean="0"/>
              <a:t>2024/6/7</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r>
              <a:rPr lang="en-US" altLang="zh-CN"/>
              <a:t>1</a:t>
            </a:r>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t>‹#›</a:t>
            </a:fld>
            <a:endParaRPr lang="zh-CN" alt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竖排文字占位符 2"/>
          <p:cNvSpPr>
            <a:spLocks noGrp="1"/>
          </p:cNvSpPr>
          <p:nvPr>
            <p:ph type="body" orient="vert" idx="1"/>
          </p:nvPr>
        </p:nvSpPr>
        <p:spPr>
          <a:xfrm>
            <a:off x="838200" y="1825625"/>
            <a:ext cx="10515600" cy="4351338"/>
          </a:xfrm>
          <a:prstGeom prst="rect">
            <a:avLst/>
          </a:prstGeo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D0F9A69E-FC76-4BDB-9EE5-D6F298B28552}" type="datetime1">
              <a:rPr lang="zh-CN" altLang="en-US" smtClean="0"/>
              <a:t>2024/6/7</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r>
              <a:rPr lang="en-US" altLang="zh-CN"/>
              <a:t>1</a:t>
            </a:r>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04F8B146-FE68-4CAB-8D3D-25B370C0E8A0}"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p:cNvSpPr>
            <a:spLocks noGrp="1"/>
          </p:cNvSpPr>
          <p:nvPr>
            <p:ph type="dt" sz="half" idx="10"/>
          </p:nvPr>
        </p:nvSpPr>
        <p:spPr/>
        <p:txBody>
          <a:bodyPr/>
          <a:lstStyle/>
          <a:p>
            <a:fld id="{C9403B01-3D09-4B45-A3CE-CB304A46017A}" type="datetime1">
              <a:rPr lang="zh-CN" altLang="en-US" smtClean="0"/>
              <a:t>2024/6/7</a:t>
            </a:fld>
            <a:endParaRPr lang="zh-CN" altLang="en-US"/>
          </a:p>
        </p:txBody>
      </p:sp>
      <p:sp>
        <p:nvSpPr>
          <p:cNvPr id="8" name="页脚占位符 7"/>
          <p:cNvSpPr>
            <a:spLocks noGrp="1"/>
          </p:cNvSpPr>
          <p:nvPr>
            <p:ph type="ftr" sz="quarter" idx="11"/>
          </p:nvPr>
        </p:nvSpPr>
        <p:spPr/>
        <p:txBody>
          <a:bodyPr/>
          <a:lstStyle/>
          <a:p>
            <a:r>
              <a:rPr lang="en-US" altLang="zh-CN"/>
              <a:t>1</a:t>
            </a:r>
            <a:endParaRPr lang="zh-CN" altLang="en-US"/>
          </a:p>
        </p:txBody>
      </p:sp>
      <p:sp>
        <p:nvSpPr>
          <p:cNvPr id="9" name="灯片编号占位符 8"/>
          <p:cNvSpPr>
            <a:spLocks noGrp="1"/>
          </p:cNvSpPr>
          <p:nvPr>
            <p:ph type="sldNum" sz="quarter" idx="12"/>
          </p:nvPr>
        </p:nvSpPr>
        <p:spPr/>
        <p:txBody>
          <a:bodyPr/>
          <a:lstStyle/>
          <a:p>
            <a:fld id="{718929A7-BED7-489C-BC02-D20B9FB58884}" type="slidenum">
              <a:rPr lang="zh-CN" altLang="en-US" smtClean="0"/>
              <a:t>‹#›</a:t>
            </a:fld>
            <a:endParaRPr lang="zh-CN" alt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节标题">
    <p:spTree>
      <p:nvGrpSpPr>
        <p:cNvPr id="1" name=""/>
        <p:cNvGrpSpPr/>
        <p:nvPr/>
      </p:nvGrpSpPr>
      <p:grpSpPr>
        <a:xfrm>
          <a:off x="0" y="0"/>
          <a:ext cx="0" cy="0"/>
          <a:chOff x="0" y="0"/>
          <a:chExt cx="0" cy="0"/>
        </a:xfrm>
      </p:grpSpPr>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8DA3FEB5-C732-4E17-939F-7DB3625EBF42}" type="datetime1">
              <a:rPr lang="zh-CN" altLang="en-US" smtClean="0"/>
              <a:t>2024/6/7</a:t>
            </a:fld>
            <a:endParaRPr lang="zh-CN" altLang="en-US"/>
          </a:p>
        </p:txBody>
      </p:sp>
      <p:sp>
        <p:nvSpPr>
          <p:cNvPr id="5" name="页脚占位符 4"/>
          <p:cNvSpPr>
            <a:spLocks noGrp="1"/>
          </p:cNvSpPr>
          <p:nvPr>
            <p:ph type="ftr" sz="quarter" idx="11"/>
          </p:nvPr>
        </p:nvSpPr>
        <p:spPr/>
        <p:txBody>
          <a:bodyPr/>
          <a:lstStyle/>
          <a:p>
            <a:r>
              <a:rPr lang="en-US" altLang="zh-CN"/>
              <a:t>1</a:t>
            </a:r>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877C14DF-8556-4C40-9C71-46E2A3205654}" type="datetime1">
              <a:rPr lang="zh-CN" altLang="en-US" smtClean="0"/>
              <a:t>2024/6/7</a:t>
            </a:fld>
            <a:endParaRPr lang="zh-CN" altLang="en-US"/>
          </a:p>
        </p:txBody>
      </p:sp>
      <p:sp>
        <p:nvSpPr>
          <p:cNvPr id="5" name="页脚占位符 4"/>
          <p:cNvSpPr>
            <a:spLocks noGrp="1"/>
          </p:cNvSpPr>
          <p:nvPr>
            <p:ph type="ftr" sz="quarter" idx="11"/>
          </p:nvPr>
        </p:nvSpPr>
        <p:spPr/>
        <p:txBody>
          <a:bodyPr/>
          <a:lstStyle/>
          <a:p>
            <a:r>
              <a:rPr lang="en-US" altLang="zh-CN"/>
              <a:t>1</a:t>
            </a:r>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68C66057-A906-481E-AD0F-0077E01B3A5E}" type="datetime1">
              <a:rPr lang="zh-CN" altLang="en-US" smtClean="0"/>
              <a:t>2024/6/7</a:t>
            </a:fld>
            <a:endParaRPr lang="zh-CN" altLang="en-US"/>
          </a:p>
        </p:txBody>
      </p:sp>
      <p:sp>
        <p:nvSpPr>
          <p:cNvPr id="5" name="页脚占位符 4"/>
          <p:cNvSpPr>
            <a:spLocks noGrp="1"/>
          </p:cNvSpPr>
          <p:nvPr>
            <p:ph type="ftr" sz="quarter" idx="11"/>
          </p:nvPr>
        </p:nvSpPr>
        <p:spPr/>
        <p:txBody>
          <a:bodyPr/>
          <a:lstStyle/>
          <a:p>
            <a:r>
              <a:rPr lang="en-US" altLang="zh-CN"/>
              <a:t>1</a:t>
            </a:r>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97AF739A-1A74-4EE9-BE6D-FA9451284E48}" type="datetime1">
              <a:rPr lang="zh-CN" altLang="en-US" smtClean="0"/>
              <a:t>2024/6/7</a:t>
            </a:fld>
            <a:endParaRPr lang="zh-CN" altLang="en-US"/>
          </a:p>
        </p:txBody>
      </p:sp>
      <p:sp>
        <p:nvSpPr>
          <p:cNvPr id="6" name="页脚占位符 5"/>
          <p:cNvSpPr>
            <a:spLocks noGrp="1"/>
          </p:cNvSpPr>
          <p:nvPr>
            <p:ph type="ftr" sz="quarter" idx="11"/>
          </p:nvPr>
        </p:nvSpPr>
        <p:spPr/>
        <p:txBody>
          <a:bodyPr/>
          <a:lstStyle/>
          <a:p>
            <a:r>
              <a:rPr lang="en-US" altLang="zh-CN"/>
              <a:t>1</a:t>
            </a:r>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59CAC16C-0D0B-4055-B1FB-09A89B7E2CA5}" type="datetime1">
              <a:rPr lang="zh-CN" altLang="en-US" smtClean="0"/>
              <a:t>2024/6/7</a:t>
            </a:fld>
            <a:endParaRPr lang="zh-CN" altLang="en-US"/>
          </a:p>
        </p:txBody>
      </p:sp>
      <p:sp>
        <p:nvSpPr>
          <p:cNvPr id="8" name="页脚占位符 7"/>
          <p:cNvSpPr>
            <a:spLocks noGrp="1"/>
          </p:cNvSpPr>
          <p:nvPr>
            <p:ph type="ftr" sz="quarter" idx="11"/>
          </p:nvPr>
        </p:nvSpPr>
        <p:spPr/>
        <p:txBody>
          <a:bodyPr/>
          <a:lstStyle/>
          <a:p>
            <a:r>
              <a:rPr lang="en-US" altLang="zh-CN"/>
              <a:t>1</a:t>
            </a:r>
            <a:endParaRPr lang="zh-CN" altLang="en-US"/>
          </a:p>
        </p:txBody>
      </p:sp>
      <p:sp>
        <p:nvSpPr>
          <p:cNvPr id="9" name="灯片编号占位符 8"/>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BB32AFE7-941B-4ECC-989A-3FDD195B6B26}" type="datetime1">
              <a:rPr lang="zh-CN" altLang="en-US" smtClean="0"/>
              <a:t>2024/6/7</a:t>
            </a:fld>
            <a:endParaRPr lang="zh-CN" altLang="en-US"/>
          </a:p>
        </p:txBody>
      </p:sp>
      <p:sp>
        <p:nvSpPr>
          <p:cNvPr id="4" name="页脚占位符 3"/>
          <p:cNvSpPr>
            <a:spLocks noGrp="1"/>
          </p:cNvSpPr>
          <p:nvPr>
            <p:ph type="ftr" sz="quarter" idx="11"/>
          </p:nvPr>
        </p:nvSpPr>
        <p:spPr/>
        <p:txBody>
          <a:bodyPr/>
          <a:lstStyle/>
          <a:p>
            <a:r>
              <a:rPr lang="en-US" altLang="zh-CN"/>
              <a:t>1</a:t>
            </a:r>
            <a:endParaRPr lang="zh-CN" altLang="en-US"/>
          </a:p>
        </p:txBody>
      </p:sp>
      <p:sp>
        <p:nvSpPr>
          <p:cNvPr id="5" name="灯片编号占位符 4"/>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B03E3287-9AE0-4250-9349-27590D2DEE27}" type="datetime1">
              <a:rPr lang="zh-CN" altLang="en-US" smtClean="0"/>
              <a:t>2024/6/7</a:t>
            </a:fld>
            <a:endParaRPr lang="zh-CN" altLang="en-US"/>
          </a:p>
        </p:txBody>
      </p:sp>
      <p:sp>
        <p:nvSpPr>
          <p:cNvPr id="3" name="页脚占位符 2"/>
          <p:cNvSpPr>
            <a:spLocks noGrp="1"/>
          </p:cNvSpPr>
          <p:nvPr>
            <p:ph type="ftr" sz="quarter" idx="11"/>
          </p:nvPr>
        </p:nvSpPr>
        <p:spPr/>
        <p:txBody>
          <a:bodyPr/>
          <a:lstStyle/>
          <a:p>
            <a:r>
              <a:rPr lang="en-US" altLang="zh-CN"/>
              <a:t>1</a:t>
            </a:r>
            <a:endParaRPr lang="zh-CN" altLang="en-US"/>
          </a:p>
        </p:txBody>
      </p:sp>
      <p:sp>
        <p:nvSpPr>
          <p:cNvPr id="4" name="灯片编号占位符 3"/>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8E8306B-CD38-45D6-B6BA-275CE4EEFD2D}" type="datetime1">
              <a:rPr lang="zh-CN" altLang="en-US" smtClean="0"/>
              <a:t>2024/6/7</a:t>
            </a:fld>
            <a:endParaRPr lang="zh-CN" altLang="en-US"/>
          </a:p>
        </p:txBody>
      </p:sp>
      <p:sp>
        <p:nvSpPr>
          <p:cNvPr id="6" name="页脚占位符 5"/>
          <p:cNvSpPr>
            <a:spLocks noGrp="1"/>
          </p:cNvSpPr>
          <p:nvPr>
            <p:ph type="ftr" sz="quarter" idx="11"/>
          </p:nvPr>
        </p:nvSpPr>
        <p:spPr/>
        <p:txBody>
          <a:bodyPr/>
          <a:lstStyle/>
          <a:p>
            <a:r>
              <a:rPr lang="en-US" altLang="zh-CN"/>
              <a:t>1</a:t>
            </a:r>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8DF51472-265A-414C-9BF1-060AF74CD8FB}" type="datetime1">
              <a:rPr lang="zh-CN" altLang="en-US" smtClean="0"/>
              <a:t>2024/6/7</a:t>
            </a:fld>
            <a:endParaRPr lang="zh-CN" altLang="en-US"/>
          </a:p>
        </p:txBody>
      </p:sp>
      <p:sp>
        <p:nvSpPr>
          <p:cNvPr id="6" name="页脚占位符 5"/>
          <p:cNvSpPr>
            <a:spLocks noGrp="1"/>
          </p:cNvSpPr>
          <p:nvPr>
            <p:ph type="ftr" sz="quarter" idx="11"/>
          </p:nvPr>
        </p:nvSpPr>
        <p:spPr/>
        <p:txBody>
          <a:bodyPr/>
          <a:lstStyle/>
          <a:p>
            <a:r>
              <a:rPr lang="en-US" altLang="zh-CN"/>
              <a:t>1</a:t>
            </a:r>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222F9267-3B06-458A-A530-3806A9AC7BEE}" type="datetime1">
              <a:rPr lang="zh-CN" altLang="en-US" smtClean="0"/>
              <a:t>2024/6/7</a:t>
            </a:fld>
            <a:endParaRPr lang="zh-CN" altLang="en-US"/>
          </a:p>
        </p:txBody>
      </p:sp>
      <p:sp>
        <p:nvSpPr>
          <p:cNvPr id="4" name="页脚占位符 3"/>
          <p:cNvSpPr>
            <a:spLocks noGrp="1"/>
          </p:cNvSpPr>
          <p:nvPr>
            <p:ph type="ftr" sz="quarter" idx="11"/>
          </p:nvPr>
        </p:nvSpPr>
        <p:spPr/>
        <p:txBody>
          <a:bodyPr/>
          <a:lstStyle/>
          <a:p>
            <a:r>
              <a:rPr lang="en-US" altLang="zh-CN"/>
              <a:t>1</a:t>
            </a:r>
            <a:endParaRPr lang="zh-CN" altLang="en-US"/>
          </a:p>
        </p:txBody>
      </p:sp>
      <p:sp>
        <p:nvSpPr>
          <p:cNvPr id="5" name="灯片编号占位符 4"/>
          <p:cNvSpPr>
            <a:spLocks noGrp="1"/>
          </p:cNvSpPr>
          <p:nvPr>
            <p:ph type="sldNum" sz="quarter" idx="12"/>
          </p:nvPr>
        </p:nvSpPr>
        <p:spPr/>
        <p:txBody>
          <a:bodyPr/>
          <a:lstStyle/>
          <a:p>
            <a:fld id="{718929A7-BED7-489C-BC02-D20B9FB58884}" type="slidenum">
              <a:rPr lang="zh-CN" altLang="en-US" smtClean="0"/>
              <a:t>‹#›</a:t>
            </a:fld>
            <a:endParaRPr lang="zh-CN" alt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3FD4DBB5-0FDC-4492-9961-276F5D67D8F7}" type="datetime1">
              <a:rPr lang="zh-CN" altLang="en-US" smtClean="0"/>
              <a:t>2024/6/7</a:t>
            </a:fld>
            <a:endParaRPr lang="zh-CN" altLang="en-US"/>
          </a:p>
        </p:txBody>
      </p:sp>
      <p:sp>
        <p:nvSpPr>
          <p:cNvPr id="5" name="页脚占位符 4"/>
          <p:cNvSpPr>
            <a:spLocks noGrp="1"/>
          </p:cNvSpPr>
          <p:nvPr>
            <p:ph type="ftr" sz="quarter" idx="11"/>
          </p:nvPr>
        </p:nvSpPr>
        <p:spPr/>
        <p:txBody>
          <a:bodyPr/>
          <a:lstStyle/>
          <a:p>
            <a:r>
              <a:rPr lang="en-US" altLang="zh-CN"/>
              <a:t>1</a:t>
            </a:r>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285C6210-63E1-4B40-B1FD-3669E3C49DF6}" type="datetime1">
              <a:rPr lang="zh-CN" altLang="en-US" smtClean="0"/>
              <a:t>2024/6/7</a:t>
            </a:fld>
            <a:endParaRPr lang="zh-CN" altLang="en-US"/>
          </a:p>
        </p:txBody>
      </p:sp>
      <p:sp>
        <p:nvSpPr>
          <p:cNvPr id="5" name="页脚占位符 4"/>
          <p:cNvSpPr>
            <a:spLocks noGrp="1"/>
          </p:cNvSpPr>
          <p:nvPr>
            <p:ph type="ftr" sz="quarter" idx="11"/>
          </p:nvPr>
        </p:nvSpPr>
        <p:spPr/>
        <p:txBody>
          <a:bodyPr/>
          <a:lstStyle/>
          <a:p>
            <a:r>
              <a:rPr lang="en-US" altLang="zh-CN"/>
              <a:t>1</a:t>
            </a:r>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7C3F5753-3301-4BA2-BE48-9989CE8A3B6D}" type="datetime1">
              <a:rPr lang="zh-CN" altLang="en-US" smtClean="0"/>
              <a:t>2024/6/7</a:t>
            </a:fld>
            <a:endParaRPr lang="zh-CN" altLang="en-US"/>
          </a:p>
        </p:txBody>
      </p:sp>
      <p:sp>
        <p:nvSpPr>
          <p:cNvPr id="3" name="页脚占位符 2"/>
          <p:cNvSpPr>
            <a:spLocks noGrp="1"/>
          </p:cNvSpPr>
          <p:nvPr>
            <p:ph type="ftr" sz="quarter" idx="11"/>
          </p:nvPr>
        </p:nvSpPr>
        <p:spPr/>
        <p:txBody>
          <a:bodyPr/>
          <a:lstStyle/>
          <a:p>
            <a:r>
              <a:rPr lang="en-US" altLang="zh-CN"/>
              <a:t>1</a:t>
            </a:r>
            <a:endParaRPr lang="zh-CN" altLang="en-US"/>
          </a:p>
        </p:txBody>
      </p:sp>
      <p:sp>
        <p:nvSpPr>
          <p:cNvPr id="4" name="灯片编号占位符 3"/>
          <p:cNvSpPr>
            <a:spLocks noGrp="1"/>
          </p:cNvSpPr>
          <p:nvPr>
            <p:ph type="sldNum" sz="quarter" idx="12"/>
          </p:nvPr>
        </p:nvSpPr>
        <p:spPr/>
        <p:txBody>
          <a:bodyPr/>
          <a:lstStyle/>
          <a:p>
            <a:fld id="{718929A7-BED7-489C-BC02-D20B9FB58884}"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249FFD77-1FD3-4679-A871-C01B1942DBE8}" type="datetime1">
              <a:rPr lang="zh-CN" altLang="en-US" smtClean="0"/>
              <a:t>2024/6/7</a:t>
            </a:fld>
            <a:endParaRPr lang="zh-CN" altLang="en-US"/>
          </a:p>
        </p:txBody>
      </p:sp>
      <p:sp>
        <p:nvSpPr>
          <p:cNvPr id="6" name="页脚占位符 5"/>
          <p:cNvSpPr>
            <a:spLocks noGrp="1"/>
          </p:cNvSpPr>
          <p:nvPr>
            <p:ph type="ftr" sz="quarter" idx="11"/>
          </p:nvPr>
        </p:nvSpPr>
        <p:spPr/>
        <p:txBody>
          <a:bodyPr/>
          <a:lstStyle/>
          <a:p>
            <a:r>
              <a:rPr lang="en-US" altLang="zh-CN"/>
              <a:t>1</a:t>
            </a:r>
            <a:endParaRPr lang="zh-CN" altLang="en-US"/>
          </a:p>
        </p:txBody>
      </p:sp>
      <p:sp>
        <p:nvSpPr>
          <p:cNvPr id="7" name="灯片编号占位符 6"/>
          <p:cNvSpPr>
            <a:spLocks noGrp="1"/>
          </p:cNvSpPr>
          <p:nvPr>
            <p:ph type="sldNum" sz="quarter" idx="12"/>
          </p:nvPr>
        </p:nvSpPr>
        <p:spPr/>
        <p:txBody>
          <a:bodyPr/>
          <a:lstStyle/>
          <a:p>
            <a:fld id="{718929A7-BED7-489C-BC02-D20B9FB58884}"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815A6802-6313-4F81-B3E7-32641E69D2B4}" type="datetime1">
              <a:rPr lang="zh-CN" altLang="en-US" smtClean="0"/>
              <a:t>2024/6/7</a:t>
            </a:fld>
            <a:endParaRPr lang="zh-CN" altLang="en-US"/>
          </a:p>
        </p:txBody>
      </p:sp>
      <p:sp>
        <p:nvSpPr>
          <p:cNvPr id="6" name="页脚占位符 5"/>
          <p:cNvSpPr>
            <a:spLocks noGrp="1"/>
          </p:cNvSpPr>
          <p:nvPr>
            <p:ph type="ftr" sz="quarter" idx="11"/>
          </p:nvPr>
        </p:nvSpPr>
        <p:spPr/>
        <p:txBody>
          <a:bodyPr/>
          <a:lstStyle/>
          <a:p>
            <a:r>
              <a:rPr lang="en-US" altLang="zh-CN"/>
              <a:t>1</a:t>
            </a:r>
            <a:endParaRPr lang="zh-CN" altLang="en-US"/>
          </a:p>
        </p:txBody>
      </p:sp>
      <p:sp>
        <p:nvSpPr>
          <p:cNvPr id="7" name="灯片编号占位符 6"/>
          <p:cNvSpPr>
            <a:spLocks noGrp="1"/>
          </p:cNvSpPr>
          <p:nvPr>
            <p:ph type="sldNum" sz="quarter" idx="12"/>
          </p:nvPr>
        </p:nvSpPr>
        <p:spPr/>
        <p:txBody>
          <a:bodyPr/>
          <a:lstStyle/>
          <a:p>
            <a:fld id="{718929A7-BED7-489C-BC02-D20B9FB58884}"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1.vml"/><Relationship Id="rId1" Type="http://schemas.openxmlformats.org/officeDocument/2006/relationships/theme" Target="../theme/theme3.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25.xml"/><Relationship Id="rId7" Type="http://schemas.openxmlformats.org/officeDocument/2006/relationships/tags" Target="../tags/tag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vmlDrawing" Target="../drawings/vmlDrawing2.vml"/><Relationship Id="rId5" Type="http://schemas.openxmlformats.org/officeDocument/2006/relationships/theme" Target="../theme/theme5.xml"/><Relationship Id="rId10" Type="http://schemas.openxmlformats.org/officeDocument/2006/relationships/image" Target="../media/image2.png"/><Relationship Id="rId4" Type="http://schemas.openxmlformats.org/officeDocument/2006/relationships/slideLayout" Target="../slideLayouts/slideLayout26.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2.pn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7.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theme" Target="../theme/theme8.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B23AE86-B51A-4AB4-A40E-C447E05533D4}" type="datetime1">
              <a:rPr lang="zh-CN" altLang="en-US" smtClean="0"/>
              <a:t>2024/6/7</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ltLang="zh-CN"/>
              <a:t>1</a:t>
            </a:r>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18929A7-BED7-489C-BC02-D20B9FB58884}"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3DB433-3E7D-401F-9C20-EB5170522D0D}" type="datetime1">
              <a:rPr lang="zh-CN" altLang="en-US" smtClean="0"/>
              <a:t>2024/6/7</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ltLang="zh-CN"/>
              <a:t>1</a:t>
            </a:r>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7EE5D8-6200-46CA-A960-1DA5B550D24A}" type="slidenum">
              <a:rPr lang="zh-CN" altLang="en-US" smtClean="0"/>
              <a:t>‹#›</a:t>
            </a:fld>
            <a:endParaRPr lang="zh-CN" altLang="en-US"/>
          </a:p>
        </p:txBody>
      </p:sp>
    </p:spTree>
  </p:cSld>
  <p:clrMap bg1="lt1" tx1="dk1" bg2="lt2" tx2="dk2" accent1="accent1" accent2="accent2" accent3="accent3" accent4="accent4" accent5="accent5" accent6="accent6" hlink="hlink" folHlink="folHlink"/>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6" name="think-cell 幻灯片" r:id="rId4" imgW="7772400" imgH="10058400" progId="TCLayout.ActiveDocument.1">
                  <p:embed/>
                </p:oleObj>
              </mc:Choice>
              <mc:Fallback>
                <p:oleObj name="think-cell 幻灯片" r:id="rId4" imgW="7772400" imgH="10058400" progId="TCLayout.ActiveDocument.1">
                  <p:embed/>
                  <p:pic>
                    <p:nvPicPr>
                      <p:cNvPr id="0" name="对象 6"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85E85C-A126-4E14-AB4E-0E5B231998E8}" type="datetime1">
              <a:rPr lang="zh-CN" altLang="en-US" smtClean="0"/>
              <a:t>2024/6/7</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ltLang="zh-CN"/>
              <a:t>1</a:t>
            </a:r>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B51C8D-DA07-4D55-AE0E-1B6D59914AB5}" type="slidenum">
              <a:rPr lang="zh-CN" altLang="en-US" smtClean="0"/>
              <a:t>‹#›</a:t>
            </a:fld>
            <a:endParaRPr lang="zh-CN" altLang="en-US"/>
          </a:p>
        </p:txBody>
      </p:sp>
      <p:pic>
        <p:nvPicPr>
          <p:cNvPr id="8" name="图片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0" name="think-cell 幻灯片" r:id="rId8" imgW="7772400" imgH="10058400" progId="TCLayout.ActiveDocument.1">
                  <p:embed/>
                </p:oleObj>
              </mc:Choice>
              <mc:Fallback>
                <p:oleObj name="think-cell 幻灯片" r:id="rId8" imgW="7772400" imgH="10058400" progId="TCLayout.ActiveDocument.1">
                  <p:embed/>
                  <p:pic>
                    <p:nvPicPr>
                      <p:cNvPr id="0" name="对象 6" hidden="1"/>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4" name="图片 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F18EA8-9DE3-474D-AFEB-91870F60F2AC}" type="datetime1">
              <a:rPr lang="zh-CN" altLang="en-US" smtClean="0"/>
              <a:t>2024/6/7</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ltLang="zh-CN"/>
              <a:t>1</a:t>
            </a:r>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9BB5D0-35E4-459D-AEF3-FE4D7C45CC19}"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1480007" y="365125"/>
            <a:ext cx="340518" cy="96707"/>
          </a:xfrm>
          <a:prstGeom prst="rect">
            <a:avLst/>
          </a:prstGeom>
        </p:spPr>
      </p:pic>
    </p:spTree>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7FCCCDD-AAAA-4C31-9186-D463E410F607}" type="datetime1">
              <a:rPr lang="zh-CN" altLang="en-US" smtClean="0"/>
              <a:t>2024/6/7</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ltLang="zh-CN"/>
              <a:t>1</a:t>
            </a:r>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5CE74E-AB26-4998-AD42-012C4C1AD076}"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51.xml"/><Relationship Id="rId1" Type="http://schemas.openxmlformats.org/officeDocument/2006/relationships/tags" Target="../tags/tag3.xml"/><Relationship Id="rId5" Type="http://schemas.openxmlformats.org/officeDocument/2006/relationships/image" Target="../media/image9.png"/><Relationship Id="rId4" Type="http://schemas.openxmlformats.org/officeDocument/2006/relationships/image" Target="../media/image8.emf"/></Relationships>
</file>

<file path=ppt/slides/_rels/slide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57.xml"/><Relationship Id="rId5" Type="http://schemas.openxmlformats.org/officeDocument/2006/relationships/image" Target="../media/image20.png"/><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57.xml"/><Relationship Id="rId1" Type="http://schemas.openxmlformats.org/officeDocument/2006/relationships/tags" Target="../tags/tag7.xml"/></Relationships>
</file>

<file path=ppt/slides/_rels/slide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57.xml"/><Relationship Id="rId5" Type="http://schemas.openxmlformats.org/officeDocument/2006/relationships/image" Target="../media/image21.jpeg"/><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57.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57.xml"/><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57.xml"/><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57.xml"/><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57.xml"/><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57.xml"/><Relationship Id="rId4" Type="http://schemas.openxmlformats.org/officeDocument/2006/relationships/image" Target="../media/image14.png"/></Relationships>
</file>

<file path=ppt/slides/_rels/slide1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57.xml"/><Relationship Id="rId1" Type="http://schemas.openxmlformats.org/officeDocument/2006/relationships/tags" Target="../tags/tag8.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57.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33.xml"/><Relationship Id="rId5" Type="http://schemas.openxmlformats.org/officeDocument/2006/relationships/image" Target="../media/image22.png"/><Relationship Id="rId4" Type="http://schemas.openxmlformats.org/officeDocument/2006/relationships/image" Target="../media/image14.png"/></Relationships>
</file>

<file path=ppt/slides/_rels/slide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33.xml"/><Relationship Id="rId5" Type="http://schemas.openxmlformats.org/officeDocument/2006/relationships/image" Target="../media/image23.png"/><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33.xml"/><Relationship Id="rId5" Type="http://schemas.openxmlformats.org/officeDocument/2006/relationships/image" Target="../media/image24.png"/><Relationship Id="rId4" Type="http://schemas.openxmlformats.org/officeDocument/2006/relationships/image" Target="../media/image14.png"/></Relationships>
</file>

<file path=ppt/slides/_rel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3.xml"/><Relationship Id="rId6" Type="http://schemas.openxmlformats.org/officeDocument/2006/relationships/image" Target="../media/image25.png"/><Relationship Id="rId5" Type="http://schemas.openxmlformats.org/officeDocument/2006/relationships/image" Target="../media/image14.png"/><Relationship Id="rId4" Type="http://schemas.microsoft.com/office/2007/relationships/hdphoto" Target="../media/hdphoto1.wdp"/></Relationships>
</file>

<file path=ppt/slides/_rels/slide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33.xml"/><Relationship Id="rId5" Type="http://schemas.openxmlformats.org/officeDocument/2006/relationships/image" Target="../media/image26.png"/><Relationship Id="rId4" Type="http://schemas.openxmlformats.org/officeDocument/2006/relationships/image" Target="../media/image14.png"/></Relationships>
</file>

<file path=ppt/slides/_rels/slide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33.xml"/><Relationship Id="rId4" Type="http://schemas.openxmlformats.org/officeDocument/2006/relationships/image" Target="../media/image14.png"/></Relationships>
</file>

<file path=ppt/slides/_rels/slide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51.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27.emf"/></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57.xml"/><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57.xml"/><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57.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57.xml"/><Relationship Id="rId5" Type="http://schemas.openxmlformats.org/officeDocument/2006/relationships/image" Target="../media/image15.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57.xml"/><Relationship Id="rId5" Type="http://schemas.openxmlformats.org/officeDocument/2006/relationships/image" Target="../media/image16.jpe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57.xml"/><Relationship Id="rId1" Type="http://schemas.openxmlformats.org/officeDocument/2006/relationships/tags" Target="../tags/tag6.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image" Target="../media/image13.png"/><Relationship Id="rId7" Type="http://schemas.openxmlformats.org/officeDocument/2006/relationships/image" Target="../media/image17.wmf"/><Relationship Id="rId2" Type="http://schemas.openxmlformats.org/officeDocument/2006/relationships/slideLayout" Target="../slideLayouts/slideLayout57.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19.wmf"/><Relationship Id="rId5" Type="http://schemas.openxmlformats.org/officeDocument/2006/relationships/image" Target="../media/image14.png"/><Relationship Id="rId10" Type="http://schemas.openxmlformats.org/officeDocument/2006/relationships/oleObject" Target="../embeddings/oleObject5.bin"/><Relationship Id="rId4" Type="http://schemas.microsoft.com/office/2007/relationships/hdphoto" Target="../media/hdphoto1.wdp"/><Relationship Id="rId9" Type="http://schemas.openxmlformats.org/officeDocument/2006/relationships/image" Target="../media/image18.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p:cNvGrpSpPr/>
          <p:nvPr/>
        </p:nvGrpSpPr>
        <p:grpSpPr>
          <a:xfrm>
            <a:off x="0" y="0"/>
            <a:ext cx="12192001" cy="5928853"/>
            <a:chOff x="-1" y="-1"/>
            <a:chExt cx="12192001" cy="5928853"/>
          </a:xfrm>
        </p:grpSpPr>
        <p:pic>
          <p:nvPicPr>
            <p:cNvPr id="56" name="图片 55"/>
            <p:cNvPicPr>
              <a:picLocks noChangeAspect="1"/>
            </p:cNvPicPr>
            <p:nvPr/>
          </p:nvPicPr>
          <p:blipFill>
            <a:blip r:embed="rId3" cstate="print">
              <a:extLst>
                <a:ext uri="{28A0092B-C50C-407E-A947-70E740481C1C}">
                  <a14:useLocalDpi xmlns:a14="http://schemas.microsoft.com/office/drawing/2010/main" val="0"/>
                </a:ext>
              </a:extLst>
            </a:blip>
            <a:srcRect t="13518" b="13518"/>
            <a:stretch>
              <a:fillRect/>
            </a:stretch>
          </p:blipFill>
          <p:spPr>
            <a:xfrm>
              <a:off x="1" y="-1"/>
              <a:ext cx="12191999" cy="5928853"/>
            </a:xfrm>
            <a:prstGeom prst="rect">
              <a:avLst/>
            </a:prstGeom>
          </p:spPr>
        </p:pic>
        <p:sp>
          <p:nvSpPr>
            <p:cNvPr id="57" name="矩形 56"/>
            <p:cNvSpPr/>
            <p:nvPr/>
          </p:nvSpPr>
          <p:spPr>
            <a:xfrm>
              <a:off x="-1" y="0"/>
              <a:ext cx="12192000" cy="592885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Calibri" panose="020F0502020204030204"/>
                <a:ea typeface="微软雅黑" panose="020B0503020204020204" charset="-122"/>
                <a:cs typeface="+mn-cs"/>
              </a:endParaRPr>
            </a:p>
          </p:txBody>
        </p:sp>
      </p:grpSp>
      <p:sp>
        <p:nvSpPr>
          <p:cNvPr id="16" name="任意多边形: 形状 15"/>
          <p:cNvSpPr/>
          <p:nvPr/>
        </p:nvSpPr>
        <p:spPr>
          <a:xfrm>
            <a:off x="-3788173" y="4952991"/>
            <a:ext cx="16805241" cy="3532144"/>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5" name="任意多边形: 形状 14"/>
          <p:cNvSpPr/>
          <p:nvPr/>
        </p:nvSpPr>
        <p:spPr>
          <a:xfrm>
            <a:off x="-1997473" y="5505441"/>
            <a:ext cx="16805241" cy="3532144"/>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rgbClr val="882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7" name="任意多边形: 形状 16"/>
          <p:cNvSpPr/>
          <p:nvPr/>
        </p:nvSpPr>
        <p:spPr>
          <a:xfrm>
            <a:off x="-9315449" y="5505441"/>
            <a:ext cx="24898350" cy="5233163"/>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rgbClr val="580C6E">
              <a:alpha val="88000"/>
            </a:srgbClr>
          </a:solidFill>
          <a:ln>
            <a:solidFill>
              <a:srgbClr val="7038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cxnSp>
        <p:nvCxnSpPr>
          <p:cNvPr id="19" name="直接连接符 18"/>
          <p:cNvCxnSpPr/>
          <p:nvPr/>
        </p:nvCxnSpPr>
        <p:spPr>
          <a:xfrm>
            <a:off x="1470025" y="1510384"/>
            <a:ext cx="2639463" cy="0"/>
          </a:xfrm>
          <a:prstGeom prst="line">
            <a:avLst/>
          </a:prstGeom>
          <a:ln w="34925">
            <a:gradFill flip="none" rotWithShape="1">
              <a:gsLst>
                <a:gs pos="0">
                  <a:srgbClr val="703881">
                    <a:alpha val="0"/>
                  </a:srgbClr>
                </a:gs>
                <a:gs pos="100000">
                  <a:srgbClr val="70388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8216106" y="1510384"/>
            <a:ext cx="2455069" cy="0"/>
          </a:xfrm>
          <a:prstGeom prst="line">
            <a:avLst/>
          </a:prstGeom>
          <a:ln w="34925">
            <a:gradFill flip="none" rotWithShape="1">
              <a:gsLst>
                <a:gs pos="0">
                  <a:srgbClr val="703881">
                    <a:alpha val="0"/>
                  </a:srgbClr>
                </a:gs>
                <a:gs pos="100000">
                  <a:srgbClr val="703881"/>
                </a:gs>
              </a:gsLst>
              <a:lin ang="10800000" scaled="1"/>
              <a:tileRect/>
            </a:gradFill>
          </a:ln>
        </p:spPr>
        <p:style>
          <a:lnRef idx="1">
            <a:schemeClr val="accent1"/>
          </a:lnRef>
          <a:fillRef idx="0">
            <a:schemeClr val="accent1"/>
          </a:fillRef>
          <a:effectRef idx="0">
            <a:schemeClr val="accent1"/>
          </a:effectRef>
          <a:fontRef idx="minor">
            <a:schemeClr val="tx1"/>
          </a:fontRef>
        </p:style>
      </p:cxnSp>
      <p:grpSp>
        <p:nvGrpSpPr>
          <p:cNvPr id="54" name="组合 53"/>
          <p:cNvGrpSpPr/>
          <p:nvPr/>
        </p:nvGrpSpPr>
        <p:grpSpPr>
          <a:xfrm>
            <a:off x="1125584" y="2094646"/>
            <a:ext cx="10247709" cy="1705634"/>
            <a:chOff x="2312590" y="2092742"/>
            <a:chExt cx="10247709" cy="1705634"/>
          </a:xfrm>
        </p:grpSpPr>
        <p:sp>
          <p:nvSpPr>
            <p:cNvPr id="37" name="文本框 36"/>
            <p:cNvSpPr txBox="1"/>
            <p:nvPr/>
          </p:nvSpPr>
          <p:spPr>
            <a:xfrm>
              <a:off x="2312590" y="2092742"/>
              <a:ext cx="10247709"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9600" b="1" kern="0" dirty="0">
                  <a:effectLst/>
                  <a:latin typeface="思源黑体 CN Bold"/>
                  <a:ea typeface="宋体" panose="02010600030101010101" pitchFamily="2" charset="-122"/>
                </a:rPr>
                <a:t>Stellaris Rover</a:t>
              </a:r>
              <a:endParaRPr kumimoji="0" lang="zh-CN" altLang="en-US" sz="9600" b="1" strike="noStrike" kern="1200" cap="none" spc="0" normalizeH="0" baseline="0" noProof="0" dirty="0">
                <a:ln>
                  <a:noFill/>
                </a:ln>
                <a:solidFill>
                  <a:prstClr val="black">
                    <a:lumMod val="75000"/>
                    <a:lumOff val="25000"/>
                  </a:prstClr>
                </a:solidFill>
                <a:effectLst/>
                <a:uLnTx/>
                <a:uFillTx/>
                <a:latin typeface="思源黑体 CN Bold"/>
                <a:ea typeface="思源黑体 CN Medium" panose="020B0600000000000000" pitchFamily="34" charset="-122"/>
              </a:endParaRPr>
            </a:p>
          </p:txBody>
        </p:sp>
        <p:sp>
          <p:nvSpPr>
            <p:cNvPr id="38" name="文本框 37"/>
            <p:cNvSpPr txBox="1"/>
            <p:nvPr/>
          </p:nvSpPr>
          <p:spPr>
            <a:xfrm>
              <a:off x="4164133" y="3490599"/>
              <a:ext cx="6544621"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lang="en-US" altLang="zh-CN" sz="1400" dirty="0">
                  <a:solidFill>
                    <a:prstClr val="black"/>
                  </a:solidFill>
                  <a:latin typeface="思源黑体 CN Light" panose="02010600030101010101" pitchFamily="34" charset="-122"/>
                  <a:ea typeface="思源黑体 CN Light" panose="02010600030101010101" pitchFamily="34" charset="-122"/>
                </a:rPr>
                <a:t>——</a:t>
              </a:r>
              <a:r>
                <a:rPr lang="zh-CN" altLang="en-US" sz="1400" dirty="0">
                  <a:solidFill>
                    <a:prstClr val="black"/>
                  </a:solidFill>
                  <a:latin typeface="思源黑体 CN Light" panose="02010600030101010101" pitchFamily="34" charset="-122"/>
                  <a:ea typeface="思源黑体 CN Light" panose="02010600030101010101" pitchFamily="34" charset="-122"/>
                </a:rPr>
                <a:t>产品工程化设计实践展品报告</a:t>
              </a:r>
              <a:endParaRPr kumimoji="0" lang="en-US" altLang="zh-CN" sz="14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p:txBody>
        </p:sp>
      </p:grpSp>
      <p:grpSp>
        <p:nvGrpSpPr>
          <p:cNvPr id="44" name="组合 43"/>
          <p:cNvGrpSpPr/>
          <p:nvPr/>
        </p:nvGrpSpPr>
        <p:grpSpPr>
          <a:xfrm>
            <a:off x="3502403" y="4578875"/>
            <a:ext cx="5187194" cy="380707"/>
            <a:chOff x="4408975" y="3971205"/>
            <a:chExt cx="4592463" cy="334475"/>
          </a:xfrm>
        </p:grpSpPr>
        <p:grpSp>
          <p:nvGrpSpPr>
            <p:cNvPr id="42" name="组合 41"/>
            <p:cNvGrpSpPr/>
            <p:nvPr/>
          </p:nvGrpSpPr>
          <p:grpSpPr>
            <a:xfrm>
              <a:off x="4408975" y="3971205"/>
              <a:ext cx="334475" cy="334475"/>
              <a:chOff x="4408975" y="3968750"/>
              <a:chExt cx="334475" cy="334475"/>
            </a:xfrm>
          </p:grpSpPr>
          <p:sp>
            <p:nvSpPr>
              <p:cNvPr id="39" name="椭圆 38"/>
              <p:cNvSpPr/>
              <p:nvPr/>
            </p:nvSpPr>
            <p:spPr>
              <a:xfrm>
                <a:off x="4408975" y="3968750"/>
                <a:ext cx="334475" cy="334475"/>
              </a:xfrm>
              <a:prstGeom prst="ellipse">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pic>
            <p:nvPicPr>
              <p:cNvPr id="41" name="图片 40"/>
              <p:cNvPicPr>
                <a:picLocks noChangeAspect="1"/>
              </p:cNvPicPr>
              <p:nvPr/>
            </p:nvPicPr>
            <p:blipFill>
              <a:blip r:embed="rId4"/>
              <a:stretch>
                <a:fillRect/>
              </a:stretch>
            </p:blipFill>
            <p:spPr>
              <a:xfrm>
                <a:off x="4488687" y="4048462"/>
                <a:ext cx="175050" cy="175050"/>
              </a:xfrm>
              <a:prstGeom prst="rect">
                <a:avLst/>
              </a:prstGeom>
            </p:spPr>
          </p:pic>
        </p:grpSp>
        <p:sp>
          <p:nvSpPr>
            <p:cNvPr id="43" name="文本框 42"/>
            <p:cNvSpPr txBox="1"/>
            <p:nvPr/>
          </p:nvSpPr>
          <p:spPr>
            <a:xfrm>
              <a:off x="4823162" y="3989644"/>
              <a:ext cx="4178276" cy="29744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汇报人：薛雨泉、闫济洲、马正华、张善斌、韦朗</a:t>
              </a:r>
            </a:p>
          </p:txBody>
        </p:sp>
      </p:grpSp>
      <p:grpSp>
        <p:nvGrpSpPr>
          <p:cNvPr id="40" name="组合 39"/>
          <p:cNvGrpSpPr>
            <a:grpSpLocks noChangeAspect="1"/>
          </p:cNvGrpSpPr>
          <p:nvPr/>
        </p:nvGrpSpPr>
        <p:grpSpPr>
          <a:xfrm>
            <a:off x="4686276" y="1079328"/>
            <a:ext cx="2819449" cy="848482"/>
            <a:chOff x="2685028" y="2876682"/>
            <a:chExt cx="5502784" cy="1656004"/>
          </a:xfrm>
        </p:grpSpPr>
        <p:sp>
          <p:nvSpPr>
            <p:cNvPr id="46" name="i$ľïdê"/>
            <p:cNvSpPr/>
            <p:nvPr userDrawn="1"/>
          </p:nvSpPr>
          <p:spPr>
            <a:xfrm>
              <a:off x="4486927" y="2876682"/>
              <a:ext cx="3699559" cy="1174043"/>
            </a:xfrm>
            <a:custGeom>
              <a:avLst/>
              <a:gdLst>
                <a:gd name="connsiteX0" fmla="*/ 3528743 w 3812022"/>
                <a:gd name="connsiteY0" fmla="*/ 1166183 h 1325394"/>
                <a:gd name="connsiteX1" fmla="*/ 3537795 w 3812022"/>
                <a:gd name="connsiteY1" fmla="*/ 1178430 h 1325394"/>
                <a:gd name="connsiteX2" fmla="*/ 3528743 w 3812022"/>
                <a:gd name="connsiteY2" fmla="*/ 1258302 h 1325394"/>
                <a:gd name="connsiteX3" fmla="*/ 3234282 w 3812022"/>
                <a:gd name="connsiteY3" fmla="*/ 1082322 h 1325394"/>
                <a:gd name="connsiteX4" fmla="*/ 3234282 w 3812022"/>
                <a:gd name="connsiteY4" fmla="*/ 1163814 h 1325394"/>
                <a:gd name="connsiteX5" fmla="*/ 3194545 w 3812022"/>
                <a:gd name="connsiteY5" fmla="*/ 1145948 h 1325394"/>
                <a:gd name="connsiteX6" fmla="*/ 3179436 w 3812022"/>
                <a:gd name="connsiteY6" fmla="*/ 1110272 h 1325394"/>
                <a:gd name="connsiteX7" fmla="*/ 3429169 w 3812022"/>
                <a:gd name="connsiteY7" fmla="*/ 1002179 h 1325394"/>
                <a:gd name="connsiteX8" fmla="*/ 3528210 w 3812022"/>
                <a:gd name="connsiteY8" fmla="*/ 1004309 h 1325394"/>
                <a:gd name="connsiteX9" fmla="*/ 3528210 w 3812022"/>
                <a:gd name="connsiteY9" fmla="*/ 1113467 h 1325394"/>
                <a:gd name="connsiteX10" fmla="*/ 3528210 w 3812022"/>
                <a:gd name="connsiteY10" fmla="*/ 1166183 h 1325394"/>
                <a:gd name="connsiteX11" fmla="*/ 3528210 w 3812022"/>
                <a:gd name="connsiteY11" fmla="*/ 1258302 h 1325394"/>
                <a:gd name="connsiteX12" fmla="*/ 3467508 w 3812022"/>
                <a:gd name="connsiteY12" fmla="*/ 1325394 h 1325394"/>
                <a:gd name="connsiteX13" fmla="*/ 3260373 w 3812022"/>
                <a:gd name="connsiteY13" fmla="*/ 1211443 h 1325394"/>
                <a:gd name="connsiteX14" fmla="*/ 3440351 w 3812022"/>
                <a:gd name="connsiteY14" fmla="*/ 1243925 h 1325394"/>
                <a:gd name="connsiteX15" fmla="*/ 3440351 w 3812022"/>
                <a:gd name="connsiteY15" fmla="*/ 1117727 h 1325394"/>
                <a:gd name="connsiteX16" fmla="*/ 3310959 w 3812022"/>
                <a:gd name="connsiteY16" fmla="*/ 1173105 h 1325394"/>
                <a:gd name="connsiteX17" fmla="*/ 3234282 w 3812022"/>
                <a:gd name="connsiteY17" fmla="*/ 1164053 h 1325394"/>
                <a:gd name="connsiteX18" fmla="*/ 3234282 w 3812022"/>
                <a:gd name="connsiteY18" fmla="*/ 1163814 h 1325394"/>
                <a:gd name="connsiteX19" fmla="*/ 3234814 w 3812022"/>
                <a:gd name="connsiteY19" fmla="*/ 1164053 h 1325394"/>
                <a:gd name="connsiteX20" fmla="*/ 3234814 w 3812022"/>
                <a:gd name="connsiteY20" fmla="*/ 1082051 h 1325394"/>
                <a:gd name="connsiteX21" fmla="*/ 3234282 w 3812022"/>
                <a:gd name="connsiteY21" fmla="*/ 1082322 h 1325394"/>
                <a:gd name="connsiteX22" fmla="*/ 3234282 w 3812022"/>
                <a:gd name="connsiteY22" fmla="*/ 1082051 h 1325394"/>
                <a:gd name="connsiteX23" fmla="*/ 3391896 w 3812022"/>
                <a:gd name="connsiteY23" fmla="*/ 1031465 h 1325394"/>
                <a:gd name="connsiteX24" fmla="*/ 3429169 w 3812022"/>
                <a:gd name="connsiteY24" fmla="*/ 1002179 h 1325394"/>
                <a:gd name="connsiteX25" fmla="*/ 3580394 w 3812022"/>
                <a:gd name="connsiteY25" fmla="*/ 994192 h 1325394"/>
                <a:gd name="connsiteX26" fmla="*/ 3644824 w 3812022"/>
                <a:gd name="connsiteY26" fmla="*/ 1024543 h 1325394"/>
                <a:gd name="connsiteX27" fmla="*/ 3528743 w 3812022"/>
                <a:gd name="connsiteY27" fmla="*/ 1113467 h 1325394"/>
                <a:gd name="connsiteX28" fmla="*/ 3528743 w 3812022"/>
                <a:gd name="connsiteY28" fmla="*/ 1004309 h 1325394"/>
                <a:gd name="connsiteX29" fmla="*/ 3580394 w 3812022"/>
                <a:gd name="connsiteY29" fmla="*/ 994192 h 1325394"/>
                <a:gd name="connsiteX30" fmla="*/ 2529346 w 3812022"/>
                <a:gd name="connsiteY30" fmla="*/ 901606 h 1325394"/>
                <a:gd name="connsiteX31" fmla="*/ 2547916 w 3812022"/>
                <a:gd name="connsiteY31" fmla="*/ 909528 h 1325394"/>
                <a:gd name="connsiteX32" fmla="*/ 2608619 w 3812022"/>
                <a:gd name="connsiteY32" fmla="*/ 977152 h 1325394"/>
                <a:gd name="connsiteX33" fmla="*/ 2718842 w 3812022"/>
                <a:gd name="connsiteY33" fmla="*/ 1051700 h 1325394"/>
                <a:gd name="connsiteX34" fmla="*/ 2803506 w 3812022"/>
                <a:gd name="connsiteY34" fmla="*/ 1057557 h 1325394"/>
                <a:gd name="connsiteX35" fmla="*/ 2668256 w 3812022"/>
                <a:gd name="connsiteY35" fmla="*/ 1154468 h 1325394"/>
                <a:gd name="connsiteX36" fmla="*/ 2629918 w 3812022"/>
                <a:gd name="connsiteY36" fmla="*/ 1145416 h 1325394"/>
                <a:gd name="connsiteX37" fmla="*/ 2608619 w 3812022"/>
                <a:gd name="connsiteY37" fmla="*/ 1124649 h 1325394"/>
                <a:gd name="connsiteX38" fmla="*/ 2518629 w 3812022"/>
                <a:gd name="connsiteY38" fmla="*/ 951061 h 1325394"/>
                <a:gd name="connsiteX39" fmla="*/ 2517565 w 3812022"/>
                <a:gd name="connsiteY39" fmla="*/ 903670 h 1325394"/>
                <a:gd name="connsiteX40" fmla="*/ 2529346 w 3812022"/>
                <a:gd name="connsiteY40" fmla="*/ 901606 h 1325394"/>
                <a:gd name="connsiteX41" fmla="*/ 1595483 w 3812022"/>
                <a:gd name="connsiteY41" fmla="*/ 881273 h 1325394"/>
                <a:gd name="connsiteX42" fmla="*/ 1578801 w 3812022"/>
                <a:gd name="connsiteY42" fmla="*/ 881839 h 1325394"/>
                <a:gd name="connsiteX43" fmla="*/ 1563892 w 3812022"/>
                <a:gd name="connsiteY43" fmla="*/ 881839 h 1325394"/>
                <a:gd name="connsiteX44" fmla="*/ 1552710 w 3812022"/>
                <a:gd name="connsiteY44" fmla="*/ 890358 h 1325394"/>
                <a:gd name="connsiteX45" fmla="*/ 1529281 w 3812022"/>
                <a:gd name="connsiteY45" fmla="*/ 1001647 h 1325394"/>
                <a:gd name="connsiteX46" fmla="*/ 1552710 w 3812022"/>
                <a:gd name="connsiteY46" fmla="*/ 992595 h 1325394"/>
                <a:gd name="connsiteX47" fmla="*/ 1578801 w 3812022"/>
                <a:gd name="connsiteY47" fmla="*/ 977685 h 1325394"/>
                <a:gd name="connsiteX48" fmla="*/ 1630452 w 3812022"/>
                <a:gd name="connsiteY48" fmla="*/ 922307 h 1325394"/>
                <a:gd name="connsiteX49" fmla="*/ 1595483 w 3812022"/>
                <a:gd name="connsiteY49" fmla="*/ 881273 h 1325394"/>
                <a:gd name="connsiteX50" fmla="*/ 578273 w 3812022"/>
                <a:gd name="connsiteY50" fmla="*/ 855746 h 1325394"/>
                <a:gd name="connsiteX51" fmla="*/ 576143 w 3812022"/>
                <a:gd name="connsiteY51" fmla="*/ 870122 h 1325394"/>
                <a:gd name="connsiteX52" fmla="*/ 577208 w 3812022"/>
                <a:gd name="connsiteY52" fmla="*/ 885032 h 1325394"/>
                <a:gd name="connsiteX53" fmla="*/ 577208 w 3812022"/>
                <a:gd name="connsiteY53" fmla="*/ 899409 h 1325394"/>
                <a:gd name="connsiteX54" fmla="*/ 583065 w 3812022"/>
                <a:gd name="connsiteY54" fmla="*/ 911656 h 1325394"/>
                <a:gd name="connsiteX55" fmla="*/ 609157 w 3812022"/>
                <a:gd name="connsiteY55" fmla="*/ 921773 h 1325394"/>
                <a:gd name="connsiteX56" fmla="*/ 610222 w 3812022"/>
                <a:gd name="connsiteY56" fmla="*/ 922838 h 1325394"/>
                <a:gd name="connsiteX57" fmla="*/ 610222 w 3812022"/>
                <a:gd name="connsiteY57" fmla="*/ 869058 h 1325394"/>
                <a:gd name="connsiteX58" fmla="*/ 609157 w 3812022"/>
                <a:gd name="connsiteY58" fmla="*/ 866928 h 1325394"/>
                <a:gd name="connsiteX59" fmla="*/ 578273 w 3812022"/>
                <a:gd name="connsiteY59" fmla="*/ 855746 h 1325394"/>
                <a:gd name="connsiteX60" fmla="*/ 3589446 w 3812022"/>
                <a:gd name="connsiteY60" fmla="*/ 757771 h 1325394"/>
                <a:gd name="connsiteX61" fmla="*/ 3566017 w 3812022"/>
                <a:gd name="connsiteY61" fmla="*/ 760965 h 1325394"/>
                <a:gd name="connsiteX62" fmla="*/ 3528743 w 3812022"/>
                <a:gd name="connsiteY62" fmla="*/ 790252 h 1325394"/>
                <a:gd name="connsiteX63" fmla="*/ 3528743 w 3812022"/>
                <a:gd name="connsiteY63" fmla="*/ 790784 h 1325394"/>
                <a:gd name="connsiteX64" fmla="*/ 3469105 w 3812022"/>
                <a:gd name="connsiteY64" fmla="*/ 863734 h 1325394"/>
                <a:gd name="connsiteX65" fmla="*/ 3528743 w 3812022"/>
                <a:gd name="connsiteY65" fmla="*/ 824331 h 1325394"/>
                <a:gd name="connsiteX66" fmla="*/ 3589446 w 3812022"/>
                <a:gd name="connsiteY66" fmla="*/ 757771 h 1325394"/>
                <a:gd name="connsiteX67" fmla="*/ 600104 w 3812022"/>
                <a:gd name="connsiteY67" fmla="*/ 741795 h 1325394"/>
                <a:gd name="connsiteX68" fmla="*/ 601169 w 3812022"/>
                <a:gd name="connsiteY68" fmla="*/ 782796 h 1325394"/>
                <a:gd name="connsiteX69" fmla="*/ 609157 w 3812022"/>
                <a:gd name="connsiteY69" fmla="*/ 785991 h 1325394"/>
                <a:gd name="connsiteX70" fmla="*/ 616079 w 3812022"/>
                <a:gd name="connsiteY70" fmla="*/ 790250 h 1325394"/>
                <a:gd name="connsiteX71" fmla="*/ 620339 w 3812022"/>
                <a:gd name="connsiteY71" fmla="*/ 749782 h 1325394"/>
                <a:gd name="connsiteX72" fmla="*/ 609157 w 3812022"/>
                <a:gd name="connsiteY72" fmla="*/ 742860 h 1325394"/>
                <a:gd name="connsiteX73" fmla="*/ 600104 w 3812022"/>
                <a:gd name="connsiteY73" fmla="*/ 741795 h 1325394"/>
                <a:gd name="connsiteX74" fmla="*/ 3661538 w 3812022"/>
                <a:gd name="connsiteY74" fmla="*/ 687708 h 1325394"/>
                <a:gd name="connsiteX75" fmla="*/ 3722566 w 3812022"/>
                <a:gd name="connsiteY75" fmla="*/ 730614 h 1325394"/>
                <a:gd name="connsiteX76" fmla="*/ 3618732 w 3812022"/>
                <a:gd name="connsiteY76" fmla="*/ 834448 h 1325394"/>
                <a:gd name="connsiteX77" fmla="*/ 3528743 w 3812022"/>
                <a:gd name="connsiteY77" fmla="*/ 887163 h 1325394"/>
                <a:gd name="connsiteX78" fmla="*/ 3402545 w 3812022"/>
                <a:gd name="connsiteY78" fmla="*/ 978217 h 1325394"/>
                <a:gd name="connsiteX79" fmla="*/ 3385506 w 3812022"/>
                <a:gd name="connsiteY79" fmla="*/ 977152 h 1325394"/>
                <a:gd name="connsiteX80" fmla="*/ 3460053 w 3812022"/>
                <a:gd name="connsiteY80" fmla="*/ 875981 h 1325394"/>
                <a:gd name="connsiteX81" fmla="*/ 3455793 w 3812022"/>
                <a:gd name="connsiteY81" fmla="*/ 867994 h 1325394"/>
                <a:gd name="connsiteX82" fmla="*/ 3356752 w 3812022"/>
                <a:gd name="connsiteY82" fmla="*/ 919644 h 1325394"/>
                <a:gd name="connsiteX83" fmla="*/ 3263568 w 3812022"/>
                <a:gd name="connsiteY83" fmla="*/ 925502 h 1325394"/>
                <a:gd name="connsiteX84" fmla="*/ 3238542 w 3812022"/>
                <a:gd name="connsiteY84" fmla="*/ 916450 h 1325394"/>
                <a:gd name="connsiteX85" fmla="*/ 3249724 w 3812022"/>
                <a:gd name="connsiteY85" fmla="*/ 890358 h 1325394"/>
                <a:gd name="connsiteX86" fmla="*/ 3509574 w 3812022"/>
                <a:gd name="connsiteY86" fmla="*/ 757771 h 1325394"/>
                <a:gd name="connsiteX87" fmla="*/ 3528743 w 3812022"/>
                <a:gd name="connsiteY87" fmla="*/ 746588 h 1325394"/>
                <a:gd name="connsiteX88" fmla="*/ 3634706 w 3812022"/>
                <a:gd name="connsiteY88" fmla="*/ 690146 h 1325394"/>
                <a:gd name="connsiteX89" fmla="*/ 3661538 w 3812022"/>
                <a:gd name="connsiteY89" fmla="*/ 687708 h 1325394"/>
                <a:gd name="connsiteX90" fmla="*/ 3106487 w 3812022"/>
                <a:gd name="connsiteY90" fmla="*/ 648612 h 1325394"/>
                <a:gd name="connsiteX91" fmla="*/ 3233749 w 3812022"/>
                <a:gd name="connsiteY91" fmla="*/ 667781 h 1325394"/>
                <a:gd name="connsiteX92" fmla="*/ 3234814 w 3812022"/>
                <a:gd name="connsiteY92" fmla="*/ 665652 h 1325394"/>
                <a:gd name="connsiteX93" fmla="*/ 3234814 w 3812022"/>
                <a:gd name="connsiteY93" fmla="*/ 750848 h 1325394"/>
                <a:gd name="connsiteX94" fmla="*/ 3225762 w 3812022"/>
                <a:gd name="connsiteY94" fmla="*/ 789187 h 1325394"/>
                <a:gd name="connsiteX95" fmla="*/ 3208723 w 3812022"/>
                <a:gd name="connsiteY95" fmla="*/ 792382 h 1325394"/>
                <a:gd name="connsiteX96" fmla="*/ 3106487 w 3812022"/>
                <a:gd name="connsiteY96" fmla="*/ 661924 h 1325394"/>
                <a:gd name="connsiteX97" fmla="*/ 3106487 w 3812022"/>
                <a:gd name="connsiteY97" fmla="*/ 651807 h 1325394"/>
                <a:gd name="connsiteX98" fmla="*/ 3106487 w 3812022"/>
                <a:gd name="connsiteY98" fmla="*/ 648612 h 1325394"/>
                <a:gd name="connsiteX99" fmla="*/ 1575074 w 3812022"/>
                <a:gd name="connsiteY99" fmla="*/ 608144 h 1325394"/>
                <a:gd name="connsiteX100" fmla="*/ 1552710 w 3812022"/>
                <a:gd name="connsiteY100" fmla="*/ 616131 h 1325394"/>
                <a:gd name="connsiteX101" fmla="*/ 1527684 w 3812022"/>
                <a:gd name="connsiteY101" fmla="*/ 671509 h 1325394"/>
                <a:gd name="connsiteX102" fmla="*/ 1552710 w 3812022"/>
                <a:gd name="connsiteY102" fmla="*/ 655535 h 1325394"/>
                <a:gd name="connsiteX103" fmla="*/ 1575074 w 3812022"/>
                <a:gd name="connsiteY103" fmla="*/ 608144 h 1325394"/>
                <a:gd name="connsiteX104" fmla="*/ 2635775 w 3812022"/>
                <a:gd name="connsiteY104" fmla="*/ 472893 h 1325394"/>
                <a:gd name="connsiteX105" fmla="*/ 2689556 w 3812022"/>
                <a:gd name="connsiteY105" fmla="*/ 508037 h 1325394"/>
                <a:gd name="connsiteX106" fmla="*/ 2608619 w 3812022"/>
                <a:gd name="connsiteY106" fmla="*/ 661392 h 1325394"/>
                <a:gd name="connsiteX107" fmla="*/ 2608619 w 3812022"/>
                <a:gd name="connsiteY107" fmla="*/ 553830 h 1325394"/>
                <a:gd name="connsiteX108" fmla="*/ 2635775 w 3812022"/>
                <a:gd name="connsiteY108" fmla="*/ 472893 h 1325394"/>
                <a:gd name="connsiteX109" fmla="*/ 1655479 w 3812022"/>
                <a:gd name="connsiteY109" fmla="*/ 448932 h 1325394"/>
                <a:gd name="connsiteX110" fmla="*/ 1578801 w 3812022"/>
                <a:gd name="connsiteY110" fmla="*/ 495257 h 1325394"/>
                <a:gd name="connsiteX111" fmla="*/ 1552710 w 3812022"/>
                <a:gd name="connsiteY111" fmla="*/ 523480 h 1325394"/>
                <a:gd name="connsiteX112" fmla="*/ 1542061 w 3812022"/>
                <a:gd name="connsiteY112" fmla="*/ 562351 h 1325394"/>
                <a:gd name="connsiteX113" fmla="*/ 1552177 w 3812022"/>
                <a:gd name="connsiteY113" fmla="*/ 558091 h 1325394"/>
                <a:gd name="connsiteX114" fmla="*/ 1578269 w 3812022"/>
                <a:gd name="connsiteY114" fmla="*/ 545844 h 1325394"/>
                <a:gd name="connsiteX115" fmla="*/ 1642699 w 3812022"/>
                <a:gd name="connsiteY115" fmla="*/ 481413 h 1325394"/>
                <a:gd name="connsiteX116" fmla="*/ 1667726 w 3812022"/>
                <a:gd name="connsiteY116" fmla="*/ 461179 h 1325394"/>
                <a:gd name="connsiteX117" fmla="*/ 1666661 w 3812022"/>
                <a:gd name="connsiteY117" fmla="*/ 449997 h 1325394"/>
                <a:gd name="connsiteX118" fmla="*/ 1655479 w 3812022"/>
                <a:gd name="connsiteY118" fmla="*/ 448932 h 1325394"/>
                <a:gd name="connsiteX119" fmla="*/ 3171982 w 3812022"/>
                <a:gd name="connsiteY119" fmla="*/ 389826 h 1325394"/>
                <a:gd name="connsiteX120" fmla="*/ 3189021 w 3812022"/>
                <a:gd name="connsiteY120" fmla="*/ 403138 h 1325394"/>
                <a:gd name="connsiteX121" fmla="*/ 3234814 w 3812022"/>
                <a:gd name="connsiteY121" fmla="*/ 454789 h 1325394"/>
                <a:gd name="connsiteX122" fmla="*/ 3313621 w 3812022"/>
                <a:gd name="connsiteY122" fmla="*/ 520285 h 1325394"/>
                <a:gd name="connsiteX123" fmla="*/ 3234814 w 3812022"/>
                <a:gd name="connsiteY123" fmla="*/ 600156 h 1325394"/>
                <a:gd name="connsiteX124" fmla="*/ 3233749 w 3812022"/>
                <a:gd name="connsiteY124" fmla="*/ 600156 h 1325394"/>
                <a:gd name="connsiteX125" fmla="*/ 3230554 w 3812022"/>
                <a:gd name="connsiteY125" fmla="*/ 538389 h 1325394"/>
                <a:gd name="connsiteX126" fmla="*/ 3171982 w 3812022"/>
                <a:gd name="connsiteY126" fmla="*/ 389826 h 1325394"/>
                <a:gd name="connsiteX127" fmla="*/ 2558565 w 3812022"/>
                <a:gd name="connsiteY127" fmla="*/ 235940 h 1325394"/>
                <a:gd name="connsiteX128" fmla="*/ 2599034 w 3812022"/>
                <a:gd name="connsiteY128" fmla="*/ 279603 h 1325394"/>
                <a:gd name="connsiteX129" fmla="*/ 2550578 w 3812022"/>
                <a:gd name="connsiteY129" fmla="*/ 565545 h 1325394"/>
                <a:gd name="connsiteX130" fmla="*/ 2551643 w 3812022"/>
                <a:gd name="connsiteY130" fmla="*/ 586845 h 1325394"/>
                <a:gd name="connsiteX131" fmla="*/ 2608086 w 3812022"/>
                <a:gd name="connsiteY131" fmla="*/ 553298 h 1325394"/>
                <a:gd name="connsiteX132" fmla="*/ 2608086 w 3812022"/>
                <a:gd name="connsiteY132" fmla="*/ 660327 h 1325394"/>
                <a:gd name="connsiteX133" fmla="*/ 2497863 w 3812022"/>
                <a:gd name="connsiteY133" fmla="*/ 743394 h 1325394"/>
                <a:gd name="connsiteX134" fmla="*/ 2447277 w 3812022"/>
                <a:gd name="connsiteY134" fmla="*/ 890891 h 1325394"/>
                <a:gd name="connsiteX135" fmla="*/ 2113411 w 3812022"/>
                <a:gd name="connsiteY135" fmla="*/ 1193339 h 1325394"/>
                <a:gd name="connsiteX136" fmla="*/ 2110217 w 3812022"/>
                <a:gd name="connsiteY136" fmla="*/ 1183222 h 1325394"/>
                <a:gd name="connsiteX137" fmla="*/ 2114476 w 3812022"/>
                <a:gd name="connsiteY137" fmla="*/ 1174170 h 1325394"/>
                <a:gd name="connsiteX138" fmla="*/ 2394562 w 3812022"/>
                <a:gd name="connsiteY138" fmla="*/ 811551 h 1325394"/>
                <a:gd name="connsiteX139" fmla="*/ 2393497 w 3812022"/>
                <a:gd name="connsiteY139" fmla="*/ 801434 h 1325394"/>
                <a:gd name="connsiteX140" fmla="*/ 2250259 w 3812022"/>
                <a:gd name="connsiteY140" fmla="*/ 827526 h 1325394"/>
                <a:gd name="connsiteX141" fmla="*/ 2286467 w 3812022"/>
                <a:gd name="connsiteY141" fmla="*/ 748719 h 1325394"/>
                <a:gd name="connsiteX142" fmla="*/ 2433965 w 3812022"/>
                <a:gd name="connsiteY142" fmla="*/ 653937 h 1325394"/>
                <a:gd name="connsiteX143" fmla="*/ 2525019 w 3812022"/>
                <a:gd name="connsiteY143" fmla="*/ 300370 h 1325394"/>
                <a:gd name="connsiteX144" fmla="*/ 2558565 w 3812022"/>
                <a:gd name="connsiteY144" fmla="*/ 235940 h 1325394"/>
                <a:gd name="connsiteX145" fmla="*/ 3528210 w 3812022"/>
                <a:gd name="connsiteY145" fmla="*/ 194459 h 1325394"/>
                <a:gd name="connsiteX146" fmla="*/ 3528210 w 3812022"/>
                <a:gd name="connsiteY146" fmla="*/ 484076 h 1325394"/>
                <a:gd name="connsiteX147" fmla="*/ 3528743 w 3812022"/>
                <a:gd name="connsiteY147" fmla="*/ 483543 h 1325394"/>
                <a:gd name="connsiteX148" fmla="*/ 3528743 w 3812022"/>
                <a:gd name="connsiteY148" fmla="*/ 484076 h 1325394"/>
                <a:gd name="connsiteX149" fmla="*/ 3495197 w 3812022"/>
                <a:gd name="connsiteY149" fmla="*/ 562883 h 1325394"/>
                <a:gd name="connsiteX150" fmla="*/ 3517161 w 3812022"/>
                <a:gd name="connsiteY150" fmla="*/ 553165 h 1325394"/>
                <a:gd name="connsiteX151" fmla="*/ 3528210 w 3812022"/>
                <a:gd name="connsiteY151" fmla="*/ 540085 h 1325394"/>
                <a:gd name="connsiteX152" fmla="*/ 3528210 w 3812022"/>
                <a:gd name="connsiteY152" fmla="*/ 656599 h 1325394"/>
                <a:gd name="connsiteX153" fmla="*/ 3528743 w 3812022"/>
                <a:gd name="connsiteY153" fmla="*/ 656327 h 1325394"/>
                <a:gd name="connsiteX154" fmla="*/ 3528743 w 3812022"/>
                <a:gd name="connsiteY154" fmla="*/ 656599 h 1325394"/>
                <a:gd name="connsiteX155" fmla="*/ 3406273 w 3812022"/>
                <a:gd name="connsiteY155" fmla="*/ 719432 h 1325394"/>
                <a:gd name="connsiteX156" fmla="*/ 3403078 w 3812022"/>
                <a:gd name="connsiteY156" fmla="*/ 707185 h 1325394"/>
                <a:gd name="connsiteX157" fmla="*/ 3496262 w 3812022"/>
                <a:gd name="connsiteY157" fmla="*/ 620391 h 1325394"/>
                <a:gd name="connsiteX158" fmla="*/ 3394026 w 3812022"/>
                <a:gd name="connsiteY158" fmla="*/ 629443 h 1325394"/>
                <a:gd name="connsiteX159" fmla="*/ 3246529 w 3812022"/>
                <a:gd name="connsiteY159" fmla="*/ 710380 h 1325394"/>
                <a:gd name="connsiteX160" fmla="*/ 3235347 w 3812022"/>
                <a:gd name="connsiteY160" fmla="*/ 750848 h 1325394"/>
                <a:gd name="connsiteX161" fmla="*/ 3235347 w 3812022"/>
                <a:gd name="connsiteY161" fmla="*/ 665652 h 1325394"/>
                <a:gd name="connsiteX162" fmla="*/ 3367934 w 3812022"/>
                <a:gd name="connsiteY162" fmla="*/ 560753 h 1325394"/>
                <a:gd name="connsiteX163" fmla="*/ 3370064 w 3812022"/>
                <a:gd name="connsiteY163" fmla="*/ 524544 h 1325394"/>
                <a:gd name="connsiteX164" fmla="*/ 3419585 w 3812022"/>
                <a:gd name="connsiteY164" fmla="*/ 520285 h 1325394"/>
                <a:gd name="connsiteX165" fmla="*/ 3511704 w 3812022"/>
                <a:gd name="connsiteY165" fmla="*/ 329123 h 1325394"/>
                <a:gd name="connsiteX166" fmla="*/ 3411598 w 3812022"/>
                <a:gd name="connsiteY166" fmla="*/ 341370 h 1325394"/>
                <a:gd name="connsiteX167" fmla="*/ 3447806 w 3812022"/>
                <a:gd name="connsiteY167" fmla="*/ 282798 h 1325394"/>
                <a:gd name="connsiteX168" fmla="*/ 52315 w 3812022"/>
                <a:gd name="connsiteY168" fmla="*/ 184090 h 1325394"/>
                <a:gd name="connsiteX169" fmla="*/ 88391 w 3812022"/>
                <a:gd name="connsiteY169" fmla="*/ 188017 h 1325394"/>
                <a:gd name="connsiteX170" fmla="*/ 158146 w 3812022"/>
                <a:gd name="connsiteY170" fmla="*/ 272682 h 1325394"/>
                <a:gd name="connsiteX171" fmla="*/ 137912 w 3812022"/>
                <a:gd name="connsiteY171" fmla="*/ 296111 h 1325394"/>
                <a:gd name="connsiteX172" fmla="*/ 102768 w 3812022"/>
                <a:gd name="connsiteY172" fmla="*/ 308358 h 1325394"/>
                <a:gd name="connsiteX173" fmla="*/ 88391 w 3812022"/>
                <a:gd name="connsiteY173" fmla="*/ 309423 h 1325394"/>
                <a:gd name="connsiteX174" fmla="*/ 81469 w 3812022"/>
                <a:gd name="connsiteY174" fmla="*/ 309423 h 1325394"/>
                <a:gd name="connsiteX175" fmla="*/ 65494 w 3812022"/>
                <a:gd name="connsiteY175" fmla="*/ 299306 h 1325394"/>
                <a:gd name="connsiteX176" fmla="*/ 18636 w 3812022"/>
                <a:gd name="connsiteY176" fmla="*/ 186952 h 1325394"/>
                <a:gd name="connsiteX177" fmla="*/ 52315 w 3812022"/>
                <a:gd name="connsiteY177" fmla="*/ 184090 h 1325394"/>
                <a:gd name="connsiteX178" fmla="*/ 697548 w 3812022"/>
                <a:gd name="connsiteY178" fmla="*/ 95897 h 1325394"/>
                <a:gd name="connsiteX179" fmla="*/ 698613 w 3812022"/>
                <a:gd name="connsiteY179" fmla="*/ 166717 h 1325394"/>
                <a:gd name="connsiteX180" fmla="*/ 712990 w 3812022"/>
                <a:gd name="connsiteY180" fmla="*/ 157665 h 1325394"/>
                <a:gd name="connsiteX181" fmla="*/ 727367 w 3812022"/>
                <a:gd name="connsiteY181" fmla="*/ 144353 h 1325394"/>
                <a:gd name="connsiteX182" fmla="*/ 712990 w 3812022"/>
                <a:gd name="connsiteY182" fmla="*/ 99092 h 1325394"/>
                <a:gd name="connsiteX183" fmla="*/ 697548 w 3812022"/>
                <a:gd name="connsiteY183" fmla="*/ 95897 h 1325394"/>
                <a:gd name="connsiteX184" fmla="*/ 1785205 w 3812022"/>
                <a:gd name="connsiteY184" fmla="*/ 42774 h 1325394"/>
                <a:gd name="connsiteX185" fmla="*/ 1825341 w 3812022"/>
                <a:gd name="connsiteY185" fmla="*/ 84183 h 1325394"/>
                <a:gd name="connsiteX186" fmla="*/ 1779015 w 3812022"/>
                <a:gd name="connsiteY186" fmla="*/ 158730 h 1325394"/>
                <a:gd name="connsiteX187" fmla="*/ 1835458 w 3812022"/>
                <a:gd name="connsiteY187" fmla="*/ 118262 h 1325394"/>
                <a:gd name="connsiteX188" fmla="*/ 1895628 w 3812022"/>
                <a:gd name="connsiteY188" fmla="*/ 150211 h 1325394"/>
                <a:gd name="connsiteX189" fmla="*/ 1895628 w 3812022"/>
                <a:gd name="connsiteY189" fmla="*/ 158198 h 1325394"/>
                <a:gd name="connsiteX190" fmla="*/ 1873264 w 3812022"/>
                <a:gd name="connsiteY190" fmla="*/ 191744 h 1325394"/>
                <a:gd name="connsiteX191" fmla="*/ 1646959 w 3812022"/>
                <a:gd name="connsiteY191" fmla="*/ 304097 h 1325394"/>
                <a:gd name="connsiteX192" fmla="*/ 1578269 w 3812022"/>
                <a:gd name="connsiteY192" fmla="*/ 388761 h 1325394"/>
                <a:gd name="connsiteX193" fmla="*/ 1552177 w 3812022"/>
                <a:gd name="connsiteY193" fmla="*/ 408996 h 1325394"/>
                <a:gd name="connsiteX194" fmla="*/ 1536203 w 3812022"/>
                <a:gd name="connsiteY194" fmla="*/ 450529 h 1325394"/>
                <a:gd name="connsiteX195" fmla="*/ 1552177 w 3812022"/>
                <a:gd name="connsiteY195" fmla="*/ 446269 h 1325394"/>
                <a:gd name="connsiteX196" fmla="*/ 1578269 w 3812022"/>
                <a:gd name="connsiteY196" fmla="*/ 432957 h 1325394"/>
                <a:gd name="connsiteX197" fmla="*/ 1765170 w 3812022"/>
                <a:gd name="connsiteY197" fmla="*/ 431892 h 1325394"/>
                <a:gd name="connsiteX198" fmla="*/ 1742807 w 3812022"/>
                <a:gd name="connsiteY198" fmla="*/ 521882 h 1325394"/>
                <a:gd name="connsiteX199" fmla="*/ 1578269 w 3812022"/>
                <a:gd name="connsiteY199" fmla="*/ 711978 h 1325394"/>
                <a:gd name="connsiteX200" fmla="*/ 1552177 w 3812022"/>
                <a:gd name="connsiteY200" fmla="*/ 732212 h 1325394"/>
                <a:gd name="connsiteX201" fmla="*/ 1552177 w 3812022"/>
                <a:gd name="connsiteY201" fmla="*/ 744459 h 1325394"/>
                <a:gd name="connsiteX202" fmla="*/ 1578269 w 3812022"/>
                <a:gd name="connsiteY202" fmla="*/ 737537 h 1325394"/>
                <a:gd name="connsiteX203" fmla="*/ 1734819 w 3812022"/>
                <a:gd name="connsiteY203" fmla="*/ 654470 h 1325394"/>
                <a:gd name="connsiteX204" fmla="*/ 1767300 w 3812022"/>
                <a:gd name="connsiteY204" fmla="*/ 708250 h 1325394"/>
                <a:gd name="connsiteX205" fmla="*/ 1648024 w 3812022"/>
                <a:gd name="connsiteY205" fmla="*/ 823266 h 1325394"/>
                <a:gd name="connsiteX206" fmla="*/ 1726832 w 3812022"/>
                <a:gd name="connsiteY206" fmla="*/ 893021 h 1325394"/>
                <a:gd name="connsiteX207" fmla="*/ 1578269 w 3812022"/>
                <a:gd name="connsiteY207" fmla="*/ 1037323 h 1325394"/>
                <a:gd name="connsiteX208" fmla="*/ 1552177 w 3812022"/>
                <a:gd name="connsiteY208" fmla="*/ 1054362 h 1325394"/>
                <a:gd name="connsiteX209" fmla="*/ 1528749 w 3812022"/>
                <a:gd name="connsiteY209" fmla="*/ 1070337 h 1325394"/>
                <a:gd name="connsiteX210" fmla="*/ 1518631 w 3812022"/>
                <a:gd name="connsiteY210" fmla="*/ 1185352 h 1325394"/>
                <a:gd name="connsiteX211" fmla="*/ 1521826 w 3812022"/>
                <a:gd name="connsiteY211" fmla="*/ 1284393 h 1325394"/>
                <a:gd name="connsiteX212" fmla="*/ 1499462 w 3812022"/>
                <a:gd name="connsiteY212" fmla="*/ 1313680 h 1325394"/>
                <a:gd name="connsiteX213" fmla="*/ 1437694 w 3812022"/>
                <a:gd name="connsiteY213" fmla="*/ 1117727 h 1325394"/>
                <a:gd name="connsiteX214" fmla="*/ 1380187 w 3812022"/>
                <a:gd name="connsiteY214" fmla="*/ 1071402 h 1325394"/>
                <a:gd name="connsiteX215" fmla="*/ 1437694 w 3812022"/>
                <a:gd name="connsiteY215" fmla="*/ 1051167 h 1325394"/>
                <a:gd name="connsiteX216" fmla="*/ 1434500 w 3812022"/>
                <a:gd name="connsiteY216" fmla="*/ 916982 h 1325394"/>
                <a:gd name="connsiteX217" fmla="*/ 1285938 w 3812022"/>
                <a:gd name="connsiteY217" fmla="*/ 1011764 h 1325394"/>
                <a:gd name="connsiteX218" fmla="*/ 1167727 w 3812022"/>
                <a:gd name="connsiteY218" fmla="*/ 1035193 h 1325394"/>
                <a:gd name="connsiteX219" fmla="*/ 1169857 w 3812022"/>
                <a:gd name="connsiteY219" fmla="*/ 1024011 h 1325394"/>
                <a:gd name="connsiteX220" fmla="*/ 1422253 w 3812022"/>
                <a:gd name="connsiteY220" fmla="*/ 824863 h 1325394"/>
                <a:gd name="connsiteX221" fmla="*/ 1397226 w 3812022"/>
                <a:gd name="connsiteY221" fmla="*/ 814746 h 1325394"/>
                <a:gd name="connsiteX222" fmla="*/ 1397226 w 3812022"/>
                <a:gd name="connsiteY222" fmla="*/ 802499 h 1325394"/>
                <a:gd name="connsiteX223" fmla="*/ 1427577 w 3812022"/>
                <a:gd name="connsiteY223" fmla="*/ 779070 h 1325394"/>
                <a:gd name="connsiteX224" fmla="*/ 1435565 w 3812022"/>
                <a:gd name="connsiteY224" fmla="*/ 692276 h 1325394"/>
                <a:gd name="connsiteX225" fmla="*/ 1289133 w 3812022"/>
                <a:gd name="connsiteY225" fmla="*/ 782265 h 1325394"/>
                <a:gd name="connsiteX226" fmla="*/ 1153883 w 3812022"/>
                <a:gd name="connsiteY226" fmla="*/ 833916 h 1325394"/>
                <a:gd name="connsiteX227" fmla="*/ 1156013 w 3812022"/>
                <a:gd name="connsiteY227" fmla="*/ 808889 h 1325394"/>
                <a:gd name="connsiteX228" fmla="*/ 1263041 w 3812022"/>
                <a:gd name="connsiteY228" fmla="*/ 748186 h 1325394"/>
                <a:gd name="connsiteX229" fmla="*/ 1306704 w 3812022"/>
                <a:gd name="connsiteY229" fmla="*/ 656067 h 1325394"/>
                <a:gd name="connsiteX230" fmla="*/ 1323744 w 3812022"/>
                <a:gd name="connsiteY230" fmla="*/ 676302 h 1325394"/>
                <a:gd name="connsiteX231" fmla="*/ 1440889 w 3812022"/>
                <a:gd name="connsiteY231" fmla="*/ 435620 h 1325394"/>
                <a:gd name="connsiteX232" fmla="*/ 1523956 w 3812022"/>
                <a:gd name="connsiteY232" fmla="*/ 343501 h 1325394"/>
                <a:gd name="connsiteX233" fmla="*/ 1376459 w 3812022"/>
                <a:gd name="connsiteY233" fmla="*/ 458516 h 1325394"/>
                <a:gd name="connsiteX234" fmla="*/ 1348238 w 3812022"/>
                <a:gd name="connsiteY234" fmla="*/ 446269 h 1325394"/>
                <a:gd name="connsiteX235" fmla="*/ 1161337 w 3812022"/>
                <a:gd name="connsiteY235" fmla="*/ 469698 h 1325394"/>
                <a:gd name="connsiteX236" fmla="*/ 1161337 w 3812022"/>
                <a:gd name="connsiteY236" fmla="*/ 459581 h 1325394"/>
                <a:gd name="connsiteX237" fmla="*/ 1337056 w 3812022"/>
                <a:gd name="connsiteY237" fmla="*/ 376514 h 1325394"/>
                <a:gd name="connsiteX238" fmla="*/ 1363147 w 3812022"/>
                <a:gd name="connsiteY238" fmla="*/ 194406 h 1325394"/>
                <a:gd name="connsiteX239" fmla="*/ 1453136 w 3812022"/>
                <a:gd name="connsiteY239" fmla="*/ 312617 h 1325394"/>
                <a:gd name="connsiteX240" fmla="*/ 1552177 w 3812022"/>
                <a:gd name="connsiteY240" fmla="*/ 273213 h 1325394"/>
                <a:gd name="connsiteX241" fmla="*/ 1578269 w 3812022"/>
                <a:gd name="connsiteY241" fmla="*/ 263096 h 1325394"/>
                <a:gd name="connsiteX242" fmla="*/ 1596374 w 3812022"/>
                <a:gd name="connsiteY242" fmla="*/ 256174 h 1325394"/>
                <a:gd name="connsiteX243" fmla="*/ 1760911 w 3812022"/>
                <a:gd name="connsiteY243" fmla="*/ 45844 h 1325394"/>
                <a:gd name="connsiteX244" fmla="*/ 1785205 w 3812022"/>
                <a:gd name="connsiteY244" fmla="*/ 42774 h 1325394"/>
                <a:gd name="connsiteX245" fmla="*/ 677122 w 3812022"/>
                <a:gd name="connsiteY245" fmla="*/ 5334 h 1325394"/>
                <a:gd name="connsiteX246" fmla="*/ 708198 w 3812022"/>
                <a:gd name="connsiteY246" fmla="*/ 55428 h 1325394"/>
                <a:gd name="connsiteX247" fmla="*/ 712458 w 3812022"/>
                <a:gd name="connsiteY247" fmla="*/ 55428 h 1325394"/>
                <a:gd name="connsiteX248" fmla="*/ 836526 w 3812022"/>
                <a:gd name="connsiteY248" fmla="*/ 143288 h 1325394"/>
                <a:gd name="connsiteX249" fmla="*/ 712458 w 3812022"/>
                <a:gd name="connsiteY249" fmla="*/ 269485 h 1325394"/>
                <a:gd name="connsiteX250" fmla="*/ 690094 w 3812022"/>
                <a:gd name="connsiteY250" fmla="*/ 280667 h 1325394"/>
                <a:gd name="connsiteX251" fmla="*/ 668794 w 3812022"/>
                <a:gd name="connsiteY251" fmla="*/ 420177 h 1325394"/>
                <a:gd name="connsiteX252" fmla="*/ 666664 w 3812022"/>
                <a:gd name="connsiteY252" fmla="*/ 435086 h 1325394"/>
                <a:gd name="connsiteX253" fmla="*/ 662405 w 3812022"/>
                <a:gd name="connsiteY253" fmla="*/ 440944 h 1325394"/>
                <a:gd name="connsiteX254" fmla="*/ 608624 w 3812022"/>
                <a:gd name="connsiteY254" fmla="*/ 524011 h 1325394"/>
                <a:gd name="connsiteX255" fmla="*/ 579338 w 3812022"/>
                <a:gd name="connsiteY255" fmla="*/ 591636 h 1325394"/>
                <a:gd name="connsiteX256" fmla="*/ 608624 w 3812022"/>
                <a:gd name="connsiteY256" fmla="*/ 570336 h 1325394"/>
                <a:gd name="connsiteX257" fmla="*/ 712458 w 3812022"/>
                <a:gd name="connsiteY257" fmla="*/ 512829 h 1325394"/>
                <a:gd name="connsiteX258" fmla="*/ 716718 w 3812022"/>
                <a:gd name="connsiteY258" fmla="*/ 511764 h 1325394"/>
                <a:gd name="connsiteX259" fmla="*/ 712458 w 3812022"/>
                <a:gd name="connsiteY259" fmla="*/ 579389 h 1325394"/>
                <a:gd name="connsiteX260" fmla="*/ 660807 w 3812022"/>
                <a:gd name="connsiteY260" fmla="*/ 645949 h 1325394"/>
                <a:gd name="connsiteX261" fmla="*/ 704471 w 3812022"/>
                <a:gd name="connsiteY261" fmla="*/ 713573 h 1325394"/>
                <a:gd name="connsiteX262" fmla="*/ 710328 w 3812022"/>
                <a:gd name="connsiteY262" fmla="*/ 1175233 h 1325394"/>
                <a:gd name="connsiteX263" fmla="*/ 625663 w 3812022"/>
                <a:gd name="connsiteY263" fmla="*/ 1217832 h 1325394"/>
                <a:gd name="connsiteX264" fmla="*/ 608624 w 3812022"/>
                <a:gd name="connsiteY264" fmla="*/ 1200792 h 1325394"/>
                <a:gd name="connsiteX265" fmla="*/ 561233 w 3812022"/>
                <a:gd name="connsiteY265" fmla="*/ 1090569 h 1325394"/>
                <a:gd name="connsiteX266" fmla="*/ 608624 w 3812022"/>
                <a:gd name="connsiteY266" fmla="*/ 1105479 h 1325394"/>
                <a:gd name="connsiteX267" fmla="*/ 610754 w 3812022"/>
                <a:gd name="connsiteY267" fmla="*/ 1105479 h 1325394"/>
                <a:gd name="connsiteX268" fmla="*/ 608624 w 3812022"/>
                <a:gd name="connsiteY268" fmla="*/ 1008567 h 1325394"/>
                <a:gd name="connsiteX269" fmla="*/ 606494 w 3812022"/>
                <a:gd name="connsiteY269" fmla="*/ 1005372 h 1325394"/>
                <a:gd name="connsiteX270" fmla="*/ 555909 w 3812022"/>
                <a:gd name="connsiteY270" fmla="*/ 972891 h 1325394"/>
                <a:gd name="connsiteX271" fmla="*/ 543662 w 3812022"/>
                <a:gd name="connsiteY271" fmla="*/ 973956 h 1325394"/>
                <a:gd name="connsiteX272" fmla="*/ 518635 w 3812022"/>
                <a:gd name="connsiteY272" fmla="*/ 1072997 h 1325394"/>
                <a:gd name="connsiteX273" fmla="*/ 449945 w 3812022"/>
                <a:gd name="connsiteY273" fmla="*/ 1246586 h 1325394"/>
                <a:gd name="connsiteX274" fmla="*/ 419594 w 3812022"/>
                <a:gd name="connsiteY274" fmla="*/ 1188013 h 1325394"/>
                <a:gd name="connsiteX275" fmla="*/ 500531 w 3812022"/>
                <a:gd name="connsiteY275" fmla="*/ 866928 h 1325394"/>
                <a:gd name="connsiteX276" fmla="*/ 542064 w 3812022"/>
                <a:gd name="connsiteY276" fmla="*/ 734340 h 1325394"/>
                <a:gd name="connsiteX277" fmla="*/ 438230 w 3812022"/>
                <a:gd name="connsiteY277" fmla="*/ 730080 h 1325394"/>
                <a:gd name="connsiteX278" fmla="*/ 439296 w 3812022"/>
                <a:gd name="connsiteY278" fmla="*/ 709846 h 1325394"/>
                <a:gd name="connsiteX279" fmla="*/ 487751 w 3812022"/>
                <a:gd name="connsiteY279" fmla="*/ 504841 h 1325394"/>
                <a:gd name="connsiteX280" fmla="*/ 494673 w 3812022"/>
                <a:gd name="connsiteY280" fmla="*/ 487802 h 1325394"/>
                <a:gd name="connsiteX281" fmla="*/ 520765 w 3812022"/>
                <a:gd name="connsiteY281" fmla="*/ 410060 h 1325394"/>
                <a:gd name="connsiteX282" fmla="*/ 410542 w 3812022"/>
                <a:gd name="connsiteY282" fmla="*/ 492062 h 1325394"/>
                <a:gd name="connsiteX283" fmla="*/ 317358 w 3812022"/>
                <a:gd name="connsiteY283" fmla="*/ 562882 h 1325394"/>
                <a:gd name="connsiteX284" fmla="*/ 217251 w 3812022"/>
                <a:gd name="connsiteY284" fmla="*/ 666715 h 1325394"/>
                <a:gd name="connsiteX285" fmla="*/ 155484 w 3812022"/>
                <a:gd name="connsiteY285" fmla="*/ 1054893 h 1325394"/>
                <a:gd name="connsiteX286" fmla="*/ 136314 w 3812022"/>
                <a:gd name="connsiteY286" fmla="*/ 1180026 h 1325394"/>
                <a:gd name="connsiteX287" fmla="*/ 100106 w 3812022"/>
                <a:gd name="connsiteY287" fmla="*/ 1312613 h 1325394"/>
                <a:gd name="connsiteX288" fmla="*/ 87859 w 3812022"/>
                <a:gd name="connsiteY288" fmla="*/ 1305691 h 1325394"/>
                <a:gd name="connsiteX289" fmla="*/ 21299 w 3812022"/>
                <a:gd name="connsiteY289" fmla="*/ 1256170 h 1325394"/>
                <a:gd name="connsiteX290" fmla="*/ 1064 w 3812022"/>
                <a:gd name="connsiteY290" fmla="*/ 1121985 h 1325394"/>
                <a:gd name="connsiteX291" fmla="*/ 2129 w 3812022"/>
                <a:gd name="connsiteY291" fmla="*/ 1009632 h 1325394"/>
                <a:gd name="connsiteX292" fmla="*/ 6389 w 3812022"/>
                <a:gd name="connsiteY292" fmla="*/ 796640 h 1325394"/>
                <a:gd name="connsiteX293" fmla="*/ 4259 w 3812022"/>
                <a:gd name="connsiteY293" fmla="*/ 718898 h 1325394"/>
                <a:gd name="connsiteX294" fmla="*/ 0 w 3812022"/>
                <a:gd name="connsiteY294" fmla="*/ 639026 h 1325394"/>
                <a:gd name="connsiteX295" fmla="*/ 0 w 3812022"/>
                <a:gd name="connsiteY295" fmla="*/ 632104 h 1325394"/>
                <a:gd name="connsiteX296" fmla="*/ 65495 w 3812022"/>
                <a:gd name="connsiteY296" fmla="*/ 504841 h 1325394"/>
                <a:gd name="connsiteX297" fmla="*/ 87859 w 3812022"/>
                <a:gd name="connsiteY297" fmla="*/ 536258 h 1325394"/>
                <a:gd name="connsiteX298" fmla="*/ 116080 w 3812022"/>
                <a:gd name="connsiteY298" fmla="*/ 617195 h 1325394"/>
                <a:gd name="connsiteX299" fmla="*/ 144302 w 3812022"/>
                <a:gd name="connsiteY299" fmla="*/ 775874 h 1325394"/>
                <a:gd name="connsiteX300" fmla="*/ 165601 w 3812022"/>
                <a:gd name="connsiteY300" fmla="*/ 702924 h 1325394"/>
                <a:gd name="connsiteX301" fmla="*/ 223109 w 3812022"/>
                <a:gd name="connsiteY301" fmla="*/ 498984 h 1325394"/>
                <a:gd name="connsiteX302" fmla="*/ 339189 w 3812022"/>
                <a:gd name="connsiteY302" fmla="*/ 424437 h 1325394"/>
                <a:gd name="connsiteX303" fmla="*/ 536207 w 3812022"/>
                <a:gd name="connsiteY303" fmla="*/ 310486 h 1325394"/>
                <a:gd name="connsiteX304" fmla="*/ 609157 w 3812022"/>
                <a:gd name="connsiteY304" fmla="*/ 91105 h 1325394"/>
                <a:gd name="connsiteX305" fmla="*/ 656547 w 3812022"/>
                <a:gd name="connsiteY305" fmla="*/ 8038 h 1325394"/>
                <a:gd name="connsiteX306" fmla="*/ 677122 w 3812022"/>
                <a:gd name="connsiteY306" fmla="*/ 5334 h 1325394"/>
                <a:gd name="connsiteX307" fmla="*/ 3645157 w 3812022"/>
                <a:gd name="connsiteY307" fmla="*/ 983 h 1325394"/>
                <a:gd name="connsiteX308" fmla="*/ 3704994 w 3812022"/>
                <a:gd name="connsiteY308" fmla="*/ 31467 h 1325394"/>
                <a:gd name="connsiteX309" fmla="*/ 3640564 w 3812022"/>
                <a:gd name="connsiteY309" fmla="*/ 159795 h 1325394"/>
                <a:gd name="connsiteX310" fmla="*/ 3543652 w 3812022"/>
                <a:gd name="connsiteY310" fmla="*/ 268953 h 1325394"/>
                <a:gd name="connsiteX311" fmla="*/ 3544718 w 3812022"/>
                <a:gd name="connsiteY311" fmla="*/ 279070 h 1325394"/>
                <a:gd name="connsiteX312" fmla="*/ 3621394 w 3812022"/>
                <a:gd name="connsiteY312" fmla="*/ 334448 h 1325394"/>
                <a:gd name="connsiteX313" fmla="*/ 3587849 w 3812022"/>
                <a:gd name="connsiteY313" fmla="*/ 419112 h 1325394"/>
                <a:gd name="connsiteX314" fmla="*/ 3812022 w 3812022"/>
                <a:gd name="connsiteY314" fmla="*/ 414853 h 1325394"/>
                <a:gd name="connsiteX315" fmla="*/ 3812022 w 3812022"/>
                <a:gd name="connsiteY315" fmla="*/ 421242 h 1325394"/>
                <a:gd name="connsiteX316" fmla="*/ 3812022 w 3812022"/>
                <a:gd name="connsiteY316" fmla="*/ 443606 h 1325394"/>
                <a:gd name="connsiteX317" fmla="*/ 3680500 w 3812022"/>
                <a:gd name="connsiteY317" fmla="*/ 594299 h 1325394"/>
                <a:gd name="connsiteX318" fmla="*/ 3654409 w 3812022"/>
                <a:gd name="connsiteY318" fmla="*/ 611339 h 1325394"/>
                <a:gd name="connsiteX319" fmla="*/ 3588713 w 3812022"/>
                <a:gd name="connsiteY319" fmla="*/ 625782 h 1325394"/>
                <a:gd name="connsiteX320" fmla="*/ 3528743 w 3812022"/>
                <a:gd name="connsiteY320" fmla="*/ 656327 h 1325394"/>
                <a:gd name="connsiteX321" fmla="*/ 3528743 w 3812022"/>
                <a:gd name="connsiteY321" fmla="*/ 539454 h 1325394"/>
                <a:gd name="connsiteX322" fmla="*/ 3528210 w 3812022"/>
                <a:gd name="connsiteY322" fmla="*/ 540085 h 1325394"/>
                <a:gd name="connsiteX323" fmla="*/ 3528210 w 3812022"/>
                <a:gd name="connsiteY323" fmla="*/ 539454 h 1325394"/>
                <a:gd name="connsiteX324" fmla="*/ 3607018 w 3812022"/>
                <a:gd name="connsiteY324" fmla="*/ 543714 h 1325394"/>
                <a:gd name="connsiteX325" fmla="*/ 3715111 w 3812022"/>
                <a:gd name="connsiteY325" fmla="*/ 446801 h 1325394"/>
                <a:gd name="connsiteX326" fmla="*/ 3537263 w 3812022"/>
                <a:gd name="connsiteY326" fmla="*/ 475024 h 1325394"/>
                <a:gd name="connsiteX327" fmla="*/ 3528743 w 3812022"/>
                <a:gd name="connsiteY327" fmla="*/ 483543 h 1325394"/>
                <a:gd name="connsiteX328" fmla="*/ 3528743 w 3812022"/>
                <a:gd name="connsiteY328" fmla="*/ 193873 h 1325394"/>
                <a:gd name="connsiteX329" fmla="*/ 3528210 w 3812022"/>
                <a:gd name="connsiteY329" fmla="*/ 194459 h 1325394"/>
                <a:gd name="connsiteX330" fmla="*/ 3528210 w 3812022"/>
                <a:gd name="connsiteY330" fmla="*/ 193873 h 1325394"/>
                <a:gd name="connsiteX331" fmla="*/ 3608082 w 3812022"/>
                <a:gd name="connsiteY331" fmla="*/ 30402 h 1325394"/>
                <a:gd name="connsiteX332" fmla="*/ 3645157 w 3812022"/>
                <a:gd name="connsiteY332" fmla="*/ 983 h 132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Lst>
              <a:rect l="l" t="t" r="r" b="b"/>
              <a:pathLst>
                <a:path w="3812022" h="1325394">
                  <a:moveTo>
                    <a:pt x="3528743" y="1166183"/>
                  </a:moveTo>
                  <a:cubicBezTo>
                    <a:pt x="3531938" y="1169377"/>
                    <a:pt x="3534601" y="1174170"/>
                    <a:pt x="3537795" y="1178430"/>
                  </a:cubicBezTo>
                  <a:cubicBezTo>
                    <a:pt x="3538860" y="1199729"/>
                    <a:pt x="3537795" y="1230080"/>
                    <a:pt x="3528743" y="1258302"/>
                  </a:cubicBezTo>
                  <a:close/>
                  <a:moveTo>
                    <a:pt x="3234282" y="1082322"/>
                  </a:moveTo>
                  <a:lnTo>
                    <a:pt x="3234282" y="1163814"/>
                  </a:lnTo>
                  <a:lnTo>
                    <a:pt x="3194545" y="1145948"/>
                  </a:lnTo>
                  <a:cubicBezTo>
                    <a:pt x="3184361" y="1137428"/>
                    <a:pt x="3178371" y="1125980"/>
                    <a:pt x="3179436" y="1110272"/>
                  </a:cubicBezTo>
                  <a:close/>
                  <a:moveTo>
                    <a:pt x="3429169" y="1002179"/>
                  </a:moveTo>
                  <a:cubicBezTo>
                    <a:pt x="3447274" y="1016556"/>
                    <a:pt x="3489872" y="1011231"/>
                    <a:pt x="3528210" y="1004309"/>
                  </a:cubicBezTo>
                  <a:lnTo>
                    <a:pt x="3528210" y="1113467"/>
                  </a:lnTo>
                  <a:cubicBezTo>
                    <a:pt x="3515964" y="1125714"/>
                    <a:pt x="3513834" y="1141688"/>
                    <a:pt x="3528210" y="1166183"/>
                  </a:cubicBezTo>
                  <a:lnTo>
                    <a:pt x="3528210" y="1258302"/>
                  </a:lnTo>
                  <a:cubicBezTo>
                    <a:pt x="3519691" y="1290250"/>
                    <a:pt x="3500522" y="1318472"/>
                    <a:pt x="3467508" y="1325394"/>
                  </a:cubicBezTo>
                  <a:cubicBezTo>
                    <a:pt x="3423844" y="1313147"/>
                    <a:pt x="3233217" y="1258834"/>
                    <a:pt x="3260373" y="1211443"/>
                  </a:cubicBezTo>
                  <a:cubicBezTo>
                    <a:pt x="3304036" y="1210378"/>
                    <a:pt x="3374324" y="1252977"/>
                    <a:pt x="3440351" y="1243925"/>
                  </a:cubicBezTo>
                  <a:cubicBezTo>
                    <a:pt x="3461650" y="1213573"/>
                    <a:pt x="3451534" y="1144883"/>
                    <a:pt x="3440351" y="1117727"/>
                  </a:cubicBezTo>
                  <a:cubicBezTo>
                    <a:pt x="3378584" y="1119857"/>
                    <a:pt x="3357284" y="1157130"/>
                    <a:pt x="3310959" y="1173105"/>
                  </a:cubicBezTo>
                  <a:cubicBezTo>
                    <a:pt x="3288595" y="1170975"/>
                    <a:pt x="3259308" y="1169910"/>
                    <a:pt x="3234282" y="1164053"/>
                  </a:cubicBezTo>
                  <a:lnTo>
                    <a:pt x="3234282" y="1163814"/>
                  </a:lnTo>
                  <a:lnTo>
                    <a:pt x="3234814" y="1164053"/>
                  </a:lnTo>
                  <a:lnTo>
                    <a:pt x="3234814" y="1082051"/>
                  </a:lnTo>
                  <a:lnTo>
                    <a:pt x="3234282" y="1082322"/>
                  </a:lnTo>
                  <a:lnTo>
                    <a:pt x="3234282" y="1082051"/>
                  </a:lnTo>
                  <a:cubicBezTo>
                    <a:pt x="3283802" y="1061816"/>
                    <a:pt x="3340245" y="1046907"/>
                    <a:pt x="3391896" y="1031465"/>
                  </a:cubicBezTo>
                  <a:cubicBezTo>
                    <a:pt x="3415325" y="1013361"/>
                    <a:pt x="3380714" y="997919"/>
                    <a:pt x="3429169" y="1002179"/>
                  </a:cubicBezTo>
                  <a:close/>
                  <a:moveTo>
                    <a:pt x="3580394" y="994192"/>
                  </a:moveTo>
                  <a:cubicBezTo>
                    <a:pt x="3600628" y="1000049"/>
                    <a:pt x="3616603" y="1004309"/>
                    <a:pt x="3644824" y="1024543"/>
                  </a:cubicBezTo>
                  <a:cubicBezTo>
                    <a:pt x="3645889" y="1077258"/>
                    <a:pt x="3560159" y="1084181"/>
                    <a:pt x="3528743" y="1113467"/>
                  </a:cubicBezTo>
                  <a:lnTo>
                    <a:pt x="3528743" y="1004309"/>
                  </a:lnTo>
                  <a:cubicBezTo>
                    <a:pt x="3547913" y="1001114"/>
                    <a:pt x="3567082" y="996321"/>
                    <a:pt x="3580394" y="994192"/>
                  </a:cubicBezTo>
                  <a:close/>
                  <a:moveTo>
                    <a:pt x="2529346" y="901606"/>
                  </a:moveTo>
                  <a:cubicBezTo>
                    <a:pt x="2533006" y="901673"/>
                    <a:pt x="2537799" y="903404"/>
                    <a:pt x="2547916" y="909528"/>
                  </a:cubicBezTo>
                  <a:cubicBezTo>
                    <a:pt x="2555903" y="927632"/>
                    <a:pt x="2579332" y="953723"/>
                    <a:pt x="2608619" y="977152"/>
                  </a:cubicBezTo>
                  <a:cubicBezTo>
                    <a:pt x="2644827" y="1008569"/>
                    <a:pt x="2689556" y="1038920"/>
                    <a:pt x="2718842" y="1051700"/>
                  </a:cubicBezTo>
                  <a:cubicBezTo>
                    <a:pt x="2747063" y="1053829"/>
                    <a:pt x="2775285" y="1055959"/>
                    <a:pt x="2803506" y="1057557"/>
                  </a:cubicBezTo>
                  <a:cubicBezTo>
                    <a:pt x="2804571" y="1095895"/>
                    <a:pt x="2702335" y="1149676"/>
                    <a:pt x="2668256" y="1154468"/>
                  </a:cubicBezTo>
                  <a:cubicBezTo>
                    <a:pt x="2656009" y="1151273"/>
                    <a:pt x="2642165" y="1147546"/>
                    <a:pt x="2629918" y="1145416"/>
                  </a:cubicBezTo>
                  <a:cubicBezTo>
                    <a:pt x="2622463" y="1139559"/>
                    <a:pt x="2615541" y="1132637"/>
                    <a:pt x="2608619" y="1124649"/>
                  </a:cubicBezTo>
                  <a:cubicBezTo>
                    <a:pt x="2568150" y="1077259"/>
                    <a:pt x="2533539" y="993659"/>
                    <a:pt x="2518629" y="951061"/>
                  </a:cubicBezTo>
                  <a:cubicBezTo>
                    <a:pt x="2517565" y="935087"/>
                    <a:pt x="2517565" y="919645"/>
                    <a:pt x="2517565" y="903670"/>
                  </a:cubicBezTo>
                  <a:cubicBezTo>
                    <a:pt x="2523156" y="903137"/>
                    <a:pt x="2525685" y="901540"/>
                    <a:pt x="2529346" y="901606"/>
                  </a:cubicBezTo>
                  <a:close/>
                  <a:moveTo>
                    <a:pt x="1595483" y="881273"/>
                  </a:moveTo>
                  <a:cubicBezTo>
                    <a:pt x="1591148" y="880907"/>
                    <a:pt x="1585857" y="881306"/>
                    <a:pt x="1578801" y="881839"/>
                  </a:cubicBezTo>
                  <a:cubicBezTo>
                    <a:pt x="1575074" y="881839"/>
                    <a:pt x="1569750" y="881839"/>
                    <a:pt x="1563892" y="881839"/>
                  </a:cubicBezTo>
                  <a:cubicBezTo>
                    <a:pt x="1559632" y="883969"/>
                    <a:pt x="1555905" y="887164"/>
                    <a:pt x="1552710" y="890358"/>
                  </a:cubicBezTo>
                  <a:cubicBezTo>
                    <a:pt x="1518099" y="915917"/>
                    <a:pt x="1528216" y="955321"/>
                    <a:pt x="1529281" y="1001647"/>
                  </a:cubicBezTo>
                  <a:cubicBezTo>
                    <a:pt x="1535671" y="999517"/>
                    <a:pt x="1543658" y="996854"/>
                    <a:pt x="1552710" y="992595"/>
                  </a:cubicBezTo>
                  <a:cubicBezTo>
                    <a:pt x="1560697" y="987802"/>
                    <a:pt x="1569750" y="983542"/>
                    <a:pt x="1578801" y="977685"/>
                  </a:cubicBezTo>
                  <a:cubicBezTo>
                    <a:pt x="1602231" y="962776"/>
                    <a:pt x="1624595" y="943606"/>
                    <a:pt x="1630452" y="922307"/>
                  </a:cubicBezTo>
                  <a:cubicBezTo>
                    <a:pt x="1612881" y="890358"/>
                    <a:pt x="1608488" y="882371"/>
                    <a:pt x="1595483" y="881273"/>
                  </a:cubicBezTo>
                  <a:close/>
                  <a:moveTo>
                    <a:pt x="578273" y="855746"/>
                  </a:moveTo>
                  <a:lnTo>
                    <a:pt x="576143" y="870122"/>
                  </a:lnTo>
                  <a:lnTo>
                    <a:pt x="577208" y="885032"/>
                  </a:lnTo>
                  <a:lnTo>
                    <a:pt x="577208" y="899409"/>
                  </a:lnTo>
                  <a:lnTo>
                    <a:pt x="583065" y="911656"/>
                  </a:lnTo>
                  <a:lnTo>
                    <a:pt x="609157" y="921773"/>
                  </a:lnTo>
                  <a:lnTo>
                    <a:pt x="610222" y="922838"/>
                  </a:lnTo>
                  <a:cubicBezTo>
                    <a:pt x="609157" y="905266"/>
                    <a:pt x="609157" y="887162"/>
                    <a:pt x="610222" y="869058"/>
                  </a:cubicBezTo>
                  <a:cubicBezTo>
                    <a:pt x="610222" y="867993"/>
                    <a:pt x="609157" y="867993"/>
                    <a:pt x="609157" y="866928"/>
                  </a:cubicBezTo>
                  <a:cubicBezTo>
                    <a:pt x="601169" y="862668"/>
                    <a:pt x="585727" y="855746"/>
                    <a:pt x="578273" y="855746"/>
                  </a:cubicBezTo>
                  <a:close/>
                  <a:moveTo>
                    <a:pt x="3589446" y="757771"/>
                  </a:moveTo>
                  <a:cubicBezTo>
                    <a:pt x="3581458" y="757771"/>
                    <a:pt x="3573471" y="759900"/>
                    <a:pt x="3566017" y="760965"/>
                  </a:cubicBezTo>
                  <a:cubicBezTo>
                    <a:pt x="3558030" y="766823"/>
                    <a:pt x="3544718" y="778005"/>
                    <a:pt x="3528743" y="790252"/>
                  </a:cubicBezTo>
                  <a:lnTo>
                    <a:pt x="3528743" y="790784"/>
                  </a:lnTo>
                  <a:cubicBezTo>
                    <a:pt x="3500522" y="815278"/>
                    <a:pt x="3468041" y="846695"/>
                    <a:pt x="3469105" y="863734"/>
                  </a:cubicBezTo>
                  <a:cubicBezTo>
                    <a:pt x="3482417" y="853617"/>
                    <a:pt x="3506379" y="840305"/>
                    <a:pt x="3528743" y="824331"/>
                  </a:cubicBezTo>
                  <a:cubicBezTo>
                    <a:pt x="3560159" y="803031"/>
                    <a:pt x="3590511" y="779070"/>
                    <a:pt x="3589446" y="757771"/>
                  </a:cubicBezTo>
                  <a:close/>
                  <a:moveTo>
                    <a:pt x="600104" y="741795"/>
                  </a:moveTo>
                  <a:cubicBezTo>
                    <a:pt x="595845" y="756704"/>
                    <a:pt x="592650" y="779068"/>
                    <a:pt x="601169" y="782796"/>
                  </a:cubicBezTo>
                  <a:cubicBezTo>
                    <a:pt x="602234" y="782796"/>
                    <a:pt x="605962" y="783861"/>
                    <a:pt x="609157" y="785991"/>
                  </a:cubicBezTo>
                  <a:cubicBezTo>
                    <a:pt x="611819" y="788121"/>
                    <a:pt x="615014" y="790250"/>
                    <a:pt x="616079" y="790250"/>
                  </a:cubicBezTo>
                  <a:cubicBezTo>
                    <a:pt x="617144" y="785991"/>
                    <a:pt x="622469" y="755639"/>
                    <a:pt x="620339" y="749782"/>
                  </a:cubicBezTo>
                  <a:cubicBezTo>
                    <a:pt x="619274" y="748717"/>
                    <a:pt x="613416" y="744990"/>
                    <a:pt x="609157" y="742860"/>
                  </a:cubicBezTo>
                  <a:cubicBezTo>
                    <a:pt x="604364" y="741795"/>
                    <a:pt x="602234" y="740730"/>
                    <a:pt x="600104" y="741795"/>
                  </a:cubicBezTo>
                  <a:close/>
                  <a:moveTo>
                    <a:pt x="3661538" y="687708"/>
                  </a:moveTo>
                  <a:cubicBezTo>
                    <a:pt x="3691615" y="686285"/>
                    <a:pt x="3726559" y="691077"/>
                    <a:pt x="3722566" y="730614"/>
                  </a:cubicBezTo>
                  <a:cubicBezTo>
                    <a:pt x="3692214" y="743926"/>
                    <a:pt x="3640564" y="808356"/>
                    <a:pt x="3618732" y="834448"/>
                  </a:cubicBezTo>
                  <a:cubicBezTo>
                    <a:pt x="3587316" y="850954"/>
                    <a:pt x="3558030" y="869059"/>
                    <a:pt x="3528743" y="887163"/>
                  </a:cubicBezTo>
                  <a:cubicBezTo>
                    <a:pt x="3484547" y="915385"/>
                    <a:pt x="3443014" y="945736"/>
                    <a:pt x="3402545" y="978217"/>
                  </a:cubicBezTo>
                  <a:cubicBezTo>
                    <a:pt x="3396688" y="977152"/>
                    <a:pt x="3391363" y="977152"/>
                    <a:pt x="3385506" y="977152"/>
                  </a:cubicBezTo>
                  <a:cubicBezTo>
                    <a:pt x="3384441" y="944671"/>
                    <a:pt x="3435026" y="899410"/>
                    <a:pt x="3460053" y="875981"/>
                  </a:cubicBezTo>
                  <a:cubicBezTo>
                    <a:pt x="3464846" y="871189"/>
                    <a:pt x="3462716" y="864799"/>
                    <a:pt x="3455793" y="867994"/>
                  </a:cubicBezTo>
                  <a:cubicBezTo>
                    <a:pt x="3422247" y="884501"/>
                    <a:pt x="3398286" y="922839"/>
                    <a:pt x="3356752" y="919644"/>
                  </a:cubicBezTo>
                  <a:cubicBezTo>
                    <a:pt x="3325336" y="921242"/>
                    <a:pt x="3293920" y="923372"/>
                    <a:pt x="3263568" y="925502"/>
                  </a:cubicBezTo>
                  <a:cubicBezTo>
                    <a:pt x="3251854" y="924437"/>
                    <a:pt x="3251854" y="924437"/>
                    <a:pt x="3238542" y="916450"/>
                  </a:cubicBezTo>
                  <a:cubicBezTo>
                    <a:pt x="3237476" y="898345"/>
                    <a:pt x="3238542" y="900475"/>
                    <a:pt x="3249724" y="890358"/>
                  </a:cubicBezTo>
                  <a:cubicBezTo>
                    <a:pt x="3333855" y="850954"/>
                    <a:pt x="3421714" y="797174"/>
                    <a:pt x="3509574" y="757771"/>
                  </a:cubicBezTo>
                  <a:cubicBezTo>
                    <a:pt x="3516496" y="754576"/>
                    <a:pt x="3522886" y="749783"/>
                    <a:pt x="3528743" y="746588"/>
                  </a:cubicBezTo>
                  <a:cubicBezTo>
                    <a:pt x="3563887" y="727419"/>
                    <a:pt x="3598498" y="709315"/>
                    <a:pt x="3634706" y="690146"/>
                  </a:cubicBezTo>
                  <a:cubicBezTo>
                    <a:pt x="3642028" y="689347"/>
                    <a:pt x="3651513" y="688182"/>
                    <a:pt x="3661538" y="687708"/>
                  </a:cubicBezTo>
                  <a:close/>
                  <a:moveTo>
                    <a:pt x="3106487" y="648612"/>
                  </a:moveTo>
                  <a:cubicBezTo>
                    <a:pt x="3152812" y="647547"/>
                    <a:pt x="3159202" y="700263"/>
                    <a:pt x="3233749" y="667781"/>
                  </a:cubicBezTo>
                  <a:cubicBezTo>
                    <a:pt x="3233749" y="666716"/>
                    <a:pt x="3234814" y="665652"/>
                    <a:pt x="3234814" y="665652"/>
                  </a:cubicBezTo>
                  <a:lnTo>
                    <a:pt x="3234814" y="750848"/>
                  </a:lnTo>
                  <a:cubicBezTo>
                    <a:pt x="3232684" y="765758"/>
                    <a:pt x="3228957" y="780135"/>
                    <a:pt x="3225762" y="789187"/>
                  </a:cubicBezTo>
                  <a:cubicBezTo>
                    <a:pt x="3219905" y="790252"/>
                    <a:pt x="3214580" y="791317"/>
                    <a:pt x="3208723" y="792382"/>
                  </a:cubicBezTo>
                  <a:cubicBezTo>
                    <a:pt x="3145890" y="762030"/>
                    <a:pt x="3108617" y="714640"/>
                    <a:pt x="3106487" y="661924"/>
                  </a:cubicBezTo>
                  <a:lnTo>
                    <a:pt x="3106487" y="651807"/>
                  </a:lnTo>
                  <a:cubicBezTo>
                    <a:pt x="3106487" y="650742"/>
                    <a:pt x="3106487" y="649677"/>
                    <a:pt x="3106487" y="648612"/>
                  </a:cubicBezTo>
                  <a:close/>
                  <a:moveTo>
                    <a:pt x="1575074" y="608144"/>
                  </a:moveTo>
                  <a:cubicBezTo>
                    <a:pt x="1566022" y="610274"/>
                    <a:pt x="1558567" y="612936"/>
                    <a:pt x="1552710" y="616131"/>
                  </a:cubicBezTo>
                  <a:cubicBezTo>
                    <a:pt x="1533541" y="625184"/>
                    <a:pt x="1526618" y="640625"/>
                    <a:pt x="1527684" y="671509"/>
                  </a:cubicBezTo>
                  <a:cubicBezTo>
                    <a:pt x="1533541" y="670444"/>
                    <a:pt x="1543658" y="663522"/>
                    <a:pt x="1552710" y="655535"/>
                  </a:cubicBezTo>
                  <a:cubicBezTo>
                    <a:pt x="1567087" y="640625"/>
                    <a:pt x="1581997" y="621456"/>
                    <a:pt x="1575074" y="608144"/>
                  </a:cubicBezTo>
                  <a:close/>
                  <a:moveTo>
                    <a:pt x="2635775" y="472893"/>
                  </a:moveTo>
                  <a:cubicBezTo>
                    <a:pt x="2661867" y="492062"/>
                    <a:pt x="2661867" y="492062"/>
                    <a:pt x="2689556" y="508037"/>
                  </a:cubicBezTo>
                  <a:cubicBezTo>
                    <a:pt x="2720972" y="548505"/>
                    <a:pt x="2667191" y="610274"/>
                    <a:pt x="2608619" y="661392"/>
                  </a:cubicBezTo>
                  <a:lnTo>
                    <a:pt x="2608619" y="553830"/>
                  </a:lnTo>
                  <a:cubicBezTo>
                    <a:pt x="2619801" y="526674"/>
                    <a:pt x="2619801" y="490997"/>
                    <a:pt x="2635775" y="472893"/>
                  </a:cubicBezTo>
                  <a:close/>
                  <a:moveTo>
                    <a:pt x="1655479" y="448932"/>
                  </a:moveTo>
                  <a:cubicBezTo>
                    <a:pt x="1629387" y="465971"/>
                    <a:pt x="1601166" y="478218"/>
                    <a:pt x="1578801" y="495257"/>
                  </a:cubicBezTo>
                  <a:cubicBezTo>
                    <a:pt x="1568685" y="503246"/>
                    <a:pt x="1558567" y="512298"/>
                    <a:pt x="1552710" y="523480"/>
                  </a:cubicBezTo>
                  <a:cubicBezTo>
                    <a:pt x="1545788" y="534662"/>
                    <a:pt x="1542593" y="547441"/>
                    <a:pt x="1542061" y="562351"/>
                  </a:cubicBezTo>
                  <a:cubicBezTo>
                    <a:pt x="1545255" y="561286"/>
                    <a:pt x="1548983" y="560221"/>
                    <a:pt x="1552177" y="558091"/>
                  </a:cubicBezTo>
                  <a:cubicBezTo>
                    <a:pt x="1561230" y="554896"/>
                    <a:pt x="1570282" y="550104"/>
                    <a:pt x="1578269" y="545844"/>
                  </a:cubicBezTo>
                  <a:cubicBezTo>
                    <a:pt x="1604361" y="532000"/>
                    <a:pt x="1626725" y="514960"/>
                    <a:pt x="1642699" y="481413"/>
                  </a:cubicBezTo>
                  <a:cubicBezTo>
                    <a:pt x="1656544" y="473426"/>
                    <a:pt x="1656544" y="473426"/>
                    <a:pt x="1667726" y="461179"/>
                  </a:cubicBezTo>
                  <a:cubicBezTo>
                    <a:pt x="1666661" y="456919"/>
                    <a:pt x="1666661" y="452127"/>
                    <a:pt x="1666661" y="449997"/>
                  </a:cubicBezTo>
                  <a:cubicBezTo>
                    <a:pt x="1662401" y="448932"/>
                    <a:pt x="1658673" y="448932"/>
                    <a:pt x="1655479" y="448932"/>
                  </a:cubicBezTo>
                  <a:close/>
                  <a:moveTo>
                    <a:pt x="3171982" y="389826"/>
                  </a:moveTo>
                  <a:cubicBezTo>
                    <a:pt x="3177839" y="394086"/>
                    <a:pt x="3183164" y="398878"/>
                    <a:pt x="3189021" y="403138"/>
                  </a:cubicBezTo>
                  <a:cubicBezTo>
                    <a:pt x="3195411" y="419112"/>
                    <a:pt x="3213515" y="436684"/>
                    <a:pt x="3234814" y="454789"/>
                  </a:cubicBezTo>
                  <a:cubicBezTo>
                    <a:pt x="3261971" y="478751"/>
                    <a:pt x="3292322" y="501115"/>
                    <a:pt x="3313621" y="520285"/>
                  </a:cubicBezTo>
                  <a:cubicBezTo>
                    <a:pt x="3315751" y="575130"/>
                    <a:pt x="3283270" y="591104"/>
                    <a:pt x="3234814" y="600156"/>
                  </a:cubicBezTo>
                  <a:lnTo>
                    <a:pt x="3233749" y="600156"/>
                  </a:lnTo>
                  <a:cubicBezTo>
                    <a:pt x="3231619" y="578857"/>
                    <a:pt x="3231619" y="558623"/>
                    <a:pt x="3230554" y="538389"/>
                  </a:cubicBezTo>
                  <a:cubicBezTo>
                    <a:pt x="3204463" y="506973"/>
                    <a:pt x="3123526" y="421242"/>
                    <a:pt x="3171982" y="389826"/>
                  </a:cubicBezTo>
                  <a:close/>
                  <a:moveTo>
                    <a:pt x="2558565" y="235940"/>
                  </a:moveTo>
                  <a:cubicBezTo>
                    <a:pt x="2573475" y="244992"/>
                    <a:pt x="2588917" y="248187"/>
                    <a:pt x="2599034" y="279603"/>
                  </a:cubicBezTo>
                  <a:cubicBezTo>
                    <a:pt x="2586787" y="368527"/>
                    <a:pt x="2575605" y="468633"/>
                    <a:pt x="2550578" y="565545"/>
                  </a:cubicBezTo>
                  <a:cubicBezTo>
                    <a:pt x="2550578" y="572467"/>
                    <a:pt x="2550578" y="578858"/>
                    <a:pt x="2551643" y="586845"/>
                  </a:cubicBezTo>
                  <a:cubicBezTo>
                    <a:pt x="2584125" y="586845"/>
                    <a:pt x="2599034" y="571934"/>
                    <a:pt x="2608086" y="553298"/>
                  </a:cubicBezTo>
                  <a:lnTo>
                    <a:pt x="2608086" y="660327"/>
                  </a:lnTo>
                  <a:cubicBezTo>
                    <a:pt x="2562825" y="698665"/>
                    <a:pt x="2513305" y="731147"/>
                    <a:pt x="2497863" y="743394"/>
                  </a:cubicBezTo>
                  <a:cubicBezTo>
                    <a:pt x="2480823" y="791849"/>
                    <a:pt x="2464317" y="841370"/>
                    <a:pt x="2447277" y="890891"/>
                  </a:cubicBezTo>
                  <a:cubicBezTo>
                    <a:pt x="2350898" y="1040517"/>
                    <a:pt x="2280077" y="1158728"/>
                    <a:pt x="2113411" y="1193339"/>
                  </a:cubicBezTo>
                  <a:cubicBezTo>
                    <a:pt x="2112346" y="1190144"/>
                    <a:pt x="2111281" y="1186417"/>
                    <a:pt x="2110217" y="1183222"/>
                  </a:cubicBezTo>
                  <a:cubicBezTo>
                    <a:pt x="2111281" y="1180027"/>
                    <a:pt x="2112346" y="1176300"/>
                    <a:pt x="2114476" y="1174170"/>
                  </a:cubicBezTo>
                  <a:cubicBezTo>
                    <a:pt x="2253986" y="1123584"/>
                    <a:pt x="2366873" y="964905"/>
                    <a:pt x="2394562" y="811551"/>
                  </a:cubicBezTo>
                  <a:cubicBezTo>
                    <a:pt x="2393497" y="808356"/>
                    <a:pt x="2393497" y="804629"/>
                    <a:pt x="2393497" y="801434"/>
                  </a:cubicBezTo>
                  <a:cubicBezTo>
                    <a:pt x="2341846" y="808356"/>
                    <a:pt x="2295520" y="826461"/>
                    <a:pt x="2250259" y="827526"/>
                  </a:cubicBezTo>
                  <a:cubicBezTo>
                    <a:pt x="2159204" y="774810"/>
                    <a:pt x="2212985" y="762031"/>
                    <a:pt x="2286467" y="748719"/>
                  </a:cubicBezTo>
                  <a:cubicBezTo>
                    <a:pt x="2337054" y="723692"/>
                    <a:pt x="2387639" y="694938"/>
                    <a:pt x="2433965" y="653937"/>
                  </a:cubicBezTo>
                  <a:cubicBezTo>
                    <a:pt x="2470174" y="535726"/>
                    <a:pt x="2509577" y="416450"/>
                    <a:pt x="2525019" y="300370"/>
                  </a:cubicBezTo>
                  <a:cubicBezTo>
                    <a:pt x="2546318" y="276941"/>
                    <a:pt x="2513837" y="252979"/>
                    <a:pt x="2558565" y="235940"/>
                  </a:cubicBezTo>
                  <a:close/>
                  <a:moveTo>
                    <a:pt x="3528210" y="194459"/>
                  </a:moveTo>
                  <a:lnTo>
                    <a:pt x="3528210" y="484076"/>
                  </a:lnTo>
                  <a:lnTo>
                    <a:pt x="3528743" y="483543"/>
                  </a:lnTo>
                  <a:lnTo>
                    <a:pt x="3528743" y="484076"/>
                  </a:lnTo>
                  <a:cubicBezTo>
                    <a:pt x="3508509" y="505375"/>
                    <a:pt x="3468041" y="540519"/>
                    <a:pt x="3495197" y="562883"/>
                  </a:cubicBezTo>
                  <a:cubicBezTo>
                    <a:pt x="3505314" y="561285"/>
                    <a:pt x="3512103" y="557558"/>
                    <a:pt x="3517161" y="553165"/>
                  </a:cubicBezTo>
                  <a:lnTo>
                    <a:pt x="3528210" y="540085"/>
                  </a:lnTo>
                  <a:lnTo>
                    <a:pt x="3528210" y="656599"/>
                  </a:lnTo>
                  <a:lnTo>
                    <a:pt x="3528743" y="656327"/>
                  </a:lnTo>
                  <a:lnTo>
                    <a:pt x="3528743" y="656599"/>
                  </a:lnTo>
                  <a:cubicBezTo>
                    <a:pt x="3488274" y="681626"/>
                    <a:pt x="3448871" y="708250"/>
                    <a:pt x="3406273" y="719432"/>
                  </a:cubicBezTo>
                  <a:cubicBezTo>
                    <a:pt x="3405208" y="715172"/>
                    <a:pt x="3403078" y="711445"/>
                    <a:pt x="3403078" y="707185"/>
                  </a:cubicBezTo>
                  <a:cubicBezTo>
                    <a:pt x="3430235" y="686951"/>
                    <a:pt x="3492002" y="651807"/>
                    <a:pt x="3496262" y="620391"/>
                  </a:cubicBezTo>
                  <a:cubicBezTo>
                    <a:pt x="3436624" y="593234"/>
                    <a:pt x="3443547" y="596962"/>
                    <a:pt x="3394026" y="629443"/>
                  </a:cubicBezTo>
                  <a:cubicBezTo>
                    <a:pt x="3321076" y="652872"/>
                    <a:pt x="3292855" y="661924"/>
                    <a:pt x="3246529" y="710380"/>
                  </a:cubicBezTo>
                  <a:cubicBezTo>
                    <a:pt x="3242269" y="722627"/>
                    <a:pt x="3238542" y="737536"/>
                    <a:pt x="3235347" y="750848"/>
                  </a:cubicBezTo>
                  <a:lnTo>
                    <a:pt x="3235347" y="665652"/>
                  </a:lnTo>
                  <a:cubicBezTo>
                    <a:pt x="3275815" y="624118"/>
                    <a:pt x="3325336" y="599092"/>
                    <a:pt x="3367934" y="560753"/>
                  </a:cubicBezTo>
                  <a:cubicBezTo>
                    <a:pt x="3368999" y="548506"/>
                    <a:pt x="3368999" y="535726"/>
                    <a:pt x="3370064" y="524544"/>
                  </a:cubicBezTo>
                  <a:cubicBezTo>
                    <a:pt x="3386039" y="523479"/>
                    <a:pt x="3402545" y="522414"/>
                    <a:pt x="3419585" y="520285"/>
                  </a:cubicBezTo>
                  <a:cubicBezTo>
                    <a:pt x="3457923" y="476621"/>
                    <a:pt x="3518626" y="380774"/>
                    <a:pt x="3511704" y="329123"/>
                  </a:cubicBezTo>
                  <a:cubicBezTo>
                    <a:pt x="3474430" y="329123"/>
                    <a:pt x="3438754" y="354150"/>
                    <a:pt x="3411598" y="341370"/>
                  </a:cubicBezTo>
                  <a:cubicBezTo>
                    <a:pt x="3410532" y="301967"/>
                    <a:pt x="3417455" y="305162"/>
                    <a:pt x="3447806" y="282798"/>
                  </a:cubicBezTo>
                  <a:close/>
                  <a:moveTo>
                    <a:pt x="52315" y="184090"/>
                  </a:moveTo>
                  <a:cubicBezTo>
                    <a:pt x="64296" y="184023"/>
                    <a:pt x="76676" y="185088"/>
                    <a:pt x="88391" y="188017"/>
                  </a:cubicBezTo>
                  <a:cubicBezTo>
                    <a:pt x="129925" y="196004"/>
                    <a:pt x="167198" y="221030"/>
                    <a:pt x="158146" y="272682"/>
                  </a:cubicBezTo>
                  <a:cubicBezTo>
                    <a:pt x="156016" y="288124"/>
                    <a:pt x="149094" y="290254"/>
                    <a:pt x="137912" y="296111"/>
                  </a:cubicBezTo>
                  <a:cubicBezTo>
                    <a:pt x="125132" y="301436"/>
                    <a:pt x="113950" y="306228"/>
                    <a:pt x="102768" y="308358"/>
                  </a:cubicBezTo>
                  <a:cubicBezTo>
                    <a:pt x="98508" y="309423"/>
                    <a:pt x="92651" y="309423"/>
                    <a:pt x="88391" y="309423"/>
                  </a:cubicBezTo>
                  <a:cubicBezTo>
                    <a:pt x="85729" y="309423"/>
                    <a:pt x="83599" y="309423"/>
                    <a:pt x="81469" y="309423"/>
                  </a:cubicBezTo>
                  <a:cubicBezTo>
                    <a:pt x="75612" y="306228"/>
                    <a:pt x="69754" y="303566"/>
                    <a:pt x="65494" y="299306"/>
                  </a:cubicBezTo>
                  <a:cubicBezTo>
                    <a:pt x="29286" y="271617"/>
                    <a:pt x="10117" y="229550"/>
                    <a:pt x="18636" y="186952"/>
                  </a:cubicBezTo>
                  <a:cubicBezTo>
                    <a:pt x="28753" y="185354"/>
                    <a:pt x="40334" y="184156"/>
                    <a:pt x="52315" y="184090"/>
                  </a:cubicBezTo>
                  <a:close/>
                  <a:moveTo>
                    <a:pt x="697548" y="95897"/>
                  </a:moveTo>
                  <a:cubicBezTo>
                    <a:pt x="698613" y="118261"/>
                    <a:pt x="698613" y="141690"/>
                    <a:pt x="698613" y="166717"/>
                  </a:cubicBezTo>
                  <a:cubicBezTo>
                    <a:pt x="703938" y="163522"/>
                    <a:pt x="708730" y="160859"/>
                    <a:pt x="712990" y="157665"/>
                  </a:cubicBezTo>
                  <a:cubicBezTo>
                    <a:pt x="717250" y="154470"/>
                    <a:pt x="721510" y="150210"/>
                    <a:pt x="727367" y="144353"/>
                  </a:cubicBezTo>
                  <a:cubicBezTo>
                    <a:pt x="727367" y="122521"/>
                    <a:pt x="723107" y="107079"/>
                    <a:pt x="712990" y="99092"/>
                  </a:cubicBezTo>
                  <a:cubicBezTo>
                    <a:pt x="708198" y="96962"/>
                    <a:pt x="703938" y="95897"/>
                    <a:pt x="697548" y="95897"/>
                  </a:cubicBezTo>
                  <a:close/>
                  <a:moveTo>
                    <a:pt x="1785205" y="42774"/>
                  </a:moveTo>
                  <a:cubicBezTo>
                    <a:pt x="1804873" y="40852"/>
                    <a:pt x="1812561" y="45445"/>
                    <a:pt x="1825341" y="84183"/>
                  </a:cubicBezTo>
                  <a:cubicBezTo>
                    <a:pt x="1816289" y="113469"/>
                    <a:pt x="1785937" y="129444"/>
                    <a:pt x="1779015" y="158730"/>
                  </a:cubicBezTo>
                  <a:cubicBezTo>
                    <a:pt x="1800314" y="148613"/>
                    <a:pt x="1820548" y="141691"/>
                    <a:pt x="1835458" y="118262"/>
                  </a:cubicBezTo>
                  <a:cubicBezTo>
                    <a:pt x="1858887" y="111339"/>
                    <a:pt x="1892966" y="127314"/>
                    <a:pt x="1895628" y="150211"/>
                  </a:cubicBezTo>
                  <a:lnTo>
                    <a:pt x="1895628" y="158198"/>
                  </a:lnTo>
                  <a:cubicBezTo>
                    <a:pt x="1893498" y="168315"/>
                    <a:pt x="1887641" y="179497"/>
                    <a:pt x="1873264" y="191744"/>
                  </a:cubicBezTo>
                  <a:cubicBezTo>
                    <a:pt x="1795522" y="219433"/>
                    <a:pt x="1708728" y="253512"/>
                    <a:pt x="1646959" y="304097"/>
                  </a:cubicBezTo>
                  <a:cubicBezTo>
                    <a:pt x="1623530" y="332319"/>
                    <a:pt x="1600633" y="360540"/>
                    <a:pt x="1578269" y="388761"/>
                  </a:cubicBezTo>
                  <a:cubicBezTo>
                    <a:pt x="1564425" y="398879"/>
                    <a:pt x="1556438" y="404736"/>
                    <a:pt x="1552177" y="408996"/>
                  </a:cubicBezTo>
                  <a:cubicBezTo>
                    <a:pt x="1544190" y="418048"/>
                    <a:pt x="1543126" y="424438"/>
                    <a:pt x="1536203" y="450529"/>
                  </a:cubicBezTo>
                  <a:cubicBezTo>
                    <a:pt x="1540996" y="449464"/>
                    <a:pt x="1546320" y="448399"/>
                    <a:pt x="1552177" y="446269"/>
                  </a:cubicBezTo>
                  <a:cubicBezTo>
                    <a:pt x="1560165" y="443074"/>
                    <a:pt x="1569217" y="438815"/>
                    <a:pt x="1578269" y="432957"/>
                  </a:cubicBezTo>
                  <a:cubicBezTo>
                    <a:pt x="1645894" y="395684"/>
                    <a:pt x="1747066" y="322734"/>
                    <a:pt x="1765170" y="431892"/>
                  </a:cubicBezTo>
                  <a:cubicBezTo>
                    <a:pt x="1802444" y="468101"/>
                    <a:pt x="1780080" y="479283"/>
                    <a:pt x="1742807" y="521882"/>
                  </a:cubicBezTo>
                  <a:cubicBezTo>
                    <a:pt x="1680505" y="573533"/>
                    <a:pt x="1641102" y="655535"/>
                    <a:pt x="1578269" y="711978"/>
                  </a:cubicBezTo>
                  <a:cubicBezTo>
                    <a:pt x="1570282" y="719965"/>
                    <a:pt x="1561230" y="726355"/>
                    <a:pt x="1552177" y="732212"/>
                  </a:cubicBezTo>
                  <a:cubicBezTo>
                    <a:pt x="1552177" y="735407"/>
                    <a:pt x="1552177" y="740199"/>
                    <a:pt x="1552177" y="744459"/>
                  </a:cubicBezTo>
                  <a:cubicBezTo>
                    <a:pt x="1559100" y="744459"/>
                    <a:pt x="1568152" y="741797"/>
                    <a:pt x="1578269" y="737537"/>
                  </a:cubicBezTo>
                  <a:cubicBezTo>
                    <a:pt x="1624595" y="718900"/>
                    <a:pt x="1705533" y="668847"/>
                    <a:pt x="1734819" y="654470"/>
                  </a:cubicBezTo>
                  <a:cubicBezTo>
                    <a:pt x="1760378" y="662990"/>
                    <a:pt x="1767300" y="669912"/>
                    <a:pt x="1767300" y="708250"/>
                  </a:cubicBezTo>
                  <a:cubicBezTo>
                    <a:pt x="1722572" y="744459"/>
                    <a:pt x="1679440" y="774810"/>
                    <a:pt x="1648024" y="823266"/>
                  </a:cubicBezTo>
                  <a:cubicBezTo>
                    <a:pt x="1648024" y="866929"/>
                    <a:pt x="1683168" y="866929"/>
                    <a:pt x="1726832" y="893021"/>
                  </a:cubicBezTo>
                  <a:cubicBezTo>
                    <a:pt x="1753988" y="933489"/>
                    <a:pt x="1649089" y="994724"/>
                    <a:pt x="1578269" y="1037323"/>
                  </a:cubicBezTo>
                  <a:cubicBezTo>
                    <a:pt x="1569217" y="1043180"/>
                    <a:pt x="1560165" y="1048505"/>
                    <a:pt x="1552177" y="1054362"/>
                  </a:cubicBezTo>
                  <a:cubicBezTo>
                    <a:pt x="1542061" y="1060219"/>
                    <a:pt x="1534606" y="1066077"/>
                    <a:pt x="1528749" y="1070337"/>
                  </a:cubicBezTo>
                  <a:cubicBezTo>
                    <a:pt x="1524489" y="1079389"/>
                    <a:pt x="1524489" y="1079389"/>
                    <a:pt x="1518631" y="1185352"/>
                  </a:cubicBezTo>
                  <a:cubicBezTo>
                    <a:pt x="1518631" y="1217833"/>
                    <a:pt x="1520761" y="1250847"/>
                    <a:pt x="1521826" y="1284393"/>
                  </a:cubicBezTo>
                  <a:cubicBezTo>
                    <a:pt x="1521826" y="1296641"/>
                    <a:pt x="1512774" y="1310485"/>
                    <a:pt x="1499462" y="1313680"/>
                  </a:cubicBezTo>
                  <a:cubicBezTo>
                    <a:pt x="1444617" y="1265224"/>
                    <a:pt x="1447812" y="1175235"/>
                    <a:pt x="1437694" y="1117727"/>
                  </a:cubicBezTo>
                  <a:cubicBezTo>
                    <a:pt x="1387109" y="1109740"/>
                    <a:pt x="1384446" y="1111870"/>
                    <a:pt x="1380187" y="1071402"/>
                  </a:cubicBezTo>
                  <a:cubicBezTo>
                    <a:pt x="1410538" y="1064479"/>
                    <a:pt x="1410538" y="1064479"/>
                    <a:pt x="1437694" y="1051167"/>
                  </a:cubicBezTo>
                  <a:cubicBezTo>
                    <a:pt x="1451539" y="1021881"/>
                    <a:pt x="1442487" y="936152"/>
                    <a:pt x="1434500" y="916982"/>
                  </a:cubicBezTo>
                  <a:cubicBezTo>
                    <a:pt x="1383914" y="918047"/>
                    <a:pt x="1327471" y="990465"/>
                    <a:pt x="1285938" y="1011764"/>
                  </a:cubicBezTo>
                  <a:cubicBezTo>
                    <a:pt x="1239612" y="1064479"/>
                    <a:pt x="1219378" y="1061284"/>
                    <a:pt x="1167727" y="1035193"/>
                  </a:cubicBezTo>
                  <a:cubicBezTo>
                    <a:pt x="1168792" y="1030933"/>
                    <a:pt x="1169857" y="1027206"/>
                    <a:pt x="1169857" y="1024011"/>
                  </a:cubicBezTo>
                  <a:cubicBezTo>
                    <a:pt x="1220975" y="1004842"/>
                    <a:pt x="1411070" y="886631"/>
                    <a:pt x="1422253" y="824863"/>
                  </a:cubicBezTo>
                  <a:cubicBezTo>
                    <a:pt x="1408408" y="822733"/>
                    <a:pt x="1408408" y="822733"/>
                    <a:pt x="1397226" y="814746"/>
                  </a:cubicBezTo>
                  <a:cubicBezTo>
                    <a:pt x="1397226" y="810486"/>
                    <a:pt x="1397226" y="805694"/>
                    <a:pt x="1397226" y="802499"/>
                  </a:cubicBezTo>
                  <a:cubicBezTo>
                    <a:pt x="1406278" y="795045"/>
                    <a:pt x="1417460" y="787057"/>
                    <a:pt x="1427577" y="779070"/>
                  </a:cubicBezTo>
                  <a:cubicBezTo>
                    <a:pt x="1435565" y="760966"/>
                    <a:pt x="1443552" y="703458"/>
                    <a:pt x="1435565" y="692276"/>
                  </a:cubicBezTo>
                  <a:cubicBezTo>
                    <a:pt x="1378057" y="692276"/>
                    <a:pt x="1354628" y="803564"/>
                    <a:pt x="1289133" y="782265"/>
                  </a:cubicBezTo>
                  <a:cubicBezTo>
                    <a:pt x="1253989" y="803564"/>
                    <a:pt x="1192221" y="854150"/>
                    <a:pt x="1153883" y="833916"/>
                  </a:cubicBezTo>
                  <a:cubicBezTo>
                    <a:pt x="1153883" y="824863"/>
                    <a:pt x="1154948" y="816876"/>
                    <a:pt x="1156013" y="808889"/>
                  </a:cubicBezTo>
                  <a:cubicBezTo>
                    <a:pt x="1188494" y="793447"/>
                    <a:pt x="1216715" y="771615"/>
                    <a:pt x="1263041" y="748186"/>
                  </a:cubicBezTo>
                  <a:cubicBezTo>
                    <a:pt x="1285405" y="708783"/>
                    <a:pt x="1263041" y="666184"/>
                    <a:pt x="1306704" y="656067"/>
                  </a:cubicBezTo>
                  <a:cubicBezTo>
                    <a:pt x="1312562" y="662990"/>
                    <a:pt x="1316822" y="669379"/>
                    <a:pt x="1323744" y="676302"/>
                  </a:cubicBezTo>
                  <a:cubicBezTo>
                    <a:pt x="1436630" y="675237"/>
                    <a:pt x="1438759" y="507505"/>
                    <a:pt x="1440889" y="435620"/>
                  </a:cubicBezTo>
                  <a:cubicBezTo>
                    <a:pt x="1463254" y="394086"/>
                    <a:pt x="1518099" y="401009"/>
                    <a:pt x="1523956" y="343501"/>
                  </a:cubicBezTo>
                  <a:cubicBezTo>
                    <a:pt x="1433967" y="356280"/>
                    <a:pt x="1443019" y="445204"/>
                    <a:pt x="1376459" y="458516"/>
                  </a:cubicBezTo>
                  <a:cubicBezTo>
                    <a:pt x="1366342" y="454256"/>
                    <a:pt x="1357290" y="450529"/>
                    <a:pt x="1348238" y="446269"/>
                  </a:cubicBezTo>
                  <a:cubicBezTo>
                    <a:pt x="1270496" y="446269"/>
                    <a:pt x="1234287" y="529337"/>
                    <a:pt x="1161337" y="469698"/>
                  </a:cubicBezTo>
                  <a:cubicBezTo>
                    <a:pt x="1161337" y="466503"/>
                    <a:pt x="1161337" y="462776"/>
                    <a:pt x="1161337" y="459581"/>
                  </a:cubicBezTo>
                  <a:cubicBezTo>
                    <a:pt x="1269431" y="405801"/>
                    <a:pt x="1269431" y="405801"/>
                    <a:pt x="1337056" y="376514"/>
                  </a:cubicBezTo>
                  <a:cubicBezTo>
                    <a:pt x="1385511" y="333916"/>
                    <a:pt x="1353030" y="247122"/>
                    <a:pt x="1363147" y="194406"/>
                  </a:cubicBezTo>
                  <a:cubicBezTo>
                    <a:pt x="1417993" y="193341"/>
                    <a:pt x="1415863" y="282265"/>
                    <a:pt x="1453136" y="312617"/>
                  </a:cubicBezTo>
                  <a:cubicBezTo>
                    <a:pt x="1485617" y="299305"/>
                    <a:pt x="1518631" y="285460"/>
                    <a:pt x="1552177" y="273213"/>
                  </a:cubicBezTo>
                  <a:cubicBezTo>
                    <a:pt x="1561230" y="270018"/>
                    <a:pt x="1569217" y="266291"/>
                    <a:pt x="1578269" y="263096"/>
                  </a:cubicBezTo>
                  <a:cubicBezTo>
                    <a:pt x="1584126" y="260434"/>
                    <a:pt x="1590516" y="258304"/>
                    <a:pt x="1596374" y="256174"/>
                  </a:cubicBezTo>
                  <a:cubicBezTo>
                    <a:pt x="1649622" y="190147"/>
                    <a:pt x="1705533" y="112404"/>
                    <a:pt x="1760911" y="45844"/>
                  </a:cubicBezTo>
                  <a:cubicBezTo>
                    <a:pt x="1770762" y="44779"/>
                    <a:pt x="1778649" y="43415"/>
                    <a:pt x="1785205" y="42774"/>
                  </a:cubicBezTo>
                  <a:close/>
                  <a:moveTo>
                    <a:pt x="677122" y="5334"/>
                  </a:moveTo>
                  <a:cubicBezTo>
                    <a:pt x="695418" y="7505"/>
                    <a:pt x="706600" y="24278"/>
                    <a:pt x="708198" y="55428"/>
                  </a:cubicBezTo>
                  <a:cubicBezTo>
                    <a:pt x="710328" y="55428"/>
                    <a:pt x="711393" y="55428"/>
                    <a:pt x="712458" y="55428"/>
                  </a:cubicBezTo>
                  <a:cubicBezTo>
                    <a:pt x="749731" y="57558"/>
                    <a:pt x="810434" y="104949"/>
                    <a:pt x="836526" y="143288"/>
                  </a:cubicBezTo>
                  <a:cubicBezTo>
                    <a:pt x="831733" y="191743"/>
                    <a:pt x="761978" y="242329"/>
                    <a:pt x="712458" y="269485"/>
                  </a:cubicBezTo>
                  <a:cubicBezTo>
                    <a:pt x="703406" y="273745"/>
                    <a:pt x="697016" y="277472"/>
                    <a:pt x="690094" y="280667"/>
                  </a:cubicBezTo>
                  <a:cubicBezTo>
                    <a:pt x="638443" y="327526"/>
                    <a:pt x="659742" y="366929"/>
                    <a:pt x="668794" y="420177"/>
                  </a:cubicBezTo>
                  <a:cubicBezTo>
                    <a:pt x="670924" y="428164"/>
                    <a:pt x="670924" y="429229"/>
                    <a:pt x="666664" y="435086"/>
                  </a:cubicBezTo>
                  <a:cubicBezTo>
                    <a:pt x="665599" y="437749"/>
                    <a:pt x="663470" y="439879"/>
                    <a:pt x="662405" y="440944"/>
                  </a:cubicBezTo>
                  <a:cubicBezTo>
                    <a:pt x="645898" y="465438"/>
                    <a:pt x="624599" y="494724"/>
                    <a:pt x="608624" y="524011"/>
                  </a:cubicBezTo>
                  <a:cubicBezTo>
                    <a:pt x="596377" y="546375"/>
                    <a:pt x="585195" y="569271"/>
                    <a:pt x="579338" y="591636"/>
                  </a:cubicBezTo>
                  <a:cubicBezTo>
                    <a:pt x="589455" y="584713"/>
                    <a:pt x="598507" y="577259"/>
                    <a:pt x="608624" y="570336"/>
                  </a:cubicBezTo>
                  <a:cubicBezTo>
                    <a:pt x="640573" y="545310"/>
                    <a:pt x="674119" y="521881"/>
                    <a:pt x="712458" y="512829"/>
                  </a:cubicBezTo>
                  <a:cubicBezTo>
                    <a:pt x="713523" y="511764"/>
                    <a:pt x="714588" y="511764"/>
                    <a:pt x="716718" y="511764"/>
                  </a:cubicBezTo>
                  <a:cubicBezTo>
                    <a:pt x="743874" y="531998"/>
                    <a:pt x="731627" y="555959"/>
                    <a:pt x="712458" y="579389"/>
                  </a:cubicBezTo>
                  <a:cubicBezTo>
                    <a:pt x="693288" y="603350"/>
                    <a:pt x="666664" y="626779"/>
                    <a:pt x="660807" y="645949"/>
                  </a:cubicBezTo>
                  <a:cubicBezTo>
                    <a:pt x="666132" y="664053"/>
                    <a:pt x="697548" y="660858"/>
                    <a:pt x="704471" y="713573"/>
                  </a:cubicBezTo>
                  <a:cubicBezTo>
                    <a:pt x="667729" y="863200"/>
                    <a:pt x="684236" y="1013360"/>
                    <a:pt x="710328" y="1175233"/>
                  </a:cubicBezTo>
                  <a:cubicBezTo>
                    <a:pt x="702341" y="1210910"/>
                    <a:pt x="652820" y="1217832"/>
                    <a:pt x="625663" y="1217832"/>
                  </a:cubicBezTo>
                  <a:cubicBezTo>
                    <a:pt x="619806" y="1213040"/>
                    <a:pt x="614481" y="1207715"/>
                    <a:pt x="608624" y="1200792"/>
                  </a:cubicBezTo>
                  <a:cubicBezTo>
                    <a:pt x="581468" y="1169376"/>
                    <a:pt x="558038" y="1116661"/>
                    <a:pt x="561233" y="1090569"/>
                  </a:cubicBezTo>
                  <a:cubicBezTo>
                    <a:pt x="592650" y="1103349"/>
                    <a:pt x="594247" y="1104414"/>
                    <a:pt x="608624" y="1105479"/>
                  </a:cubicBezTo>
                  <a:cubicBezTo>
                    <a:pt x="608624" y="1105479"/>
                    <a:pt x="609689" y="1105479"/>
                    <a:pt x="610754" y="1105479"/>
                  </a:cubicBezTo>
                  <a:cubicBezTo>
                    <a:pt x="620871" y="1076192"/>
                    <a:pt x="617676" y="1029866"/>
                    <a:pt x="608624" y="1008567"/>
                  </a:cubicBezTo>
                  <a:cubicBezTo>
                    <a:pt x="607559" y="1007502"/>
                    <a:pt x="606494" y="1006437"/>
                    <a:pt x="606494" y="1005372"/>
                  </a:cubicBezTo>
                  <a:cubicBezTo>
                    <a:pt x="572948" y="994190"/>
                    <a:pt x="567091" y="994190"/>
                    <a:pt x="555909" y="972891"/>
                  </a:cubicBezTo>
                  <a:cubicBezTo>
                    <a:pt x="551649" y="972891"/>
                    <a:pt x="546856" y="972891"/>
                    <a:pt x="543662" y="973956"/>
                  </a:cubicBezTo>
                  <a:cubicBezTo>
                    <a:pt x="534609" y="995255"/>
                    <a:pt x="531947" y="1026672"/>
                    <a:pt x="518635" y="1072997"/>
                  </a:cubicBezTo>
                  <a:cubicBezTo>
                    <a:pt x="514375" y="1104946"/>
                    <a:pt x="518635" y="1256703"/>
                    <a:pt x="449945" y="1246586"/>
                  </a:cubicBezTo>
                  <a:cubicBezTo>
                    <a:pt x="417464" y="1219429"/>
                    <a:pt x="420659" y="1221559"/>
                    <a:pt x="419594" y="1188013"/>
                  </a:cubicBezTo>
                  <a:cubicBezTo>
                    <a:pt x="441958" y="1074062"/>
                    <a:pt x="465387" y="975021"/>
                    <a:pt x="500531" y="866928"/>
                  </a:cubicBezTo>
                  <a:cubicBezTo>
                    <a:pt x="503726" y="815277"/>
                    <a:pt x="529817" y="776939"/>
                    <a:pt x="542064" y="734340"/>
                  </a:cubicBezTo>
                  <a:cubicBezTo>
                    <a:pt x="499998" y="734340"/>
                    <a:pt x="463257" y="778536"/>
                    <a:pt x="438230" y="730080"/>
                  </a:cubicBezTo>
                  <a:cubicBezTo>
                    <a:pt x="438230" y="723158"/>
                    <a:pt x="438230" y="716768"/>
                    <a:pt x="439296" y="709846"/>
                  </a:cubicBezTo>
                  <a:cubicBezTo>
                    <a:pt x="497868" y="644351"/>
                    <a:pt x="505855" y="583648"/>
                    <a:pt x="487751" y="504841"/>
                  </a:cubicBezTo>
                  <a:cubicBezTo>
                    <a:pt x="486686" y="498984"/>
                    <a:pt x="492543" y="492062"/>
                    <a:pt x="494673" y="487802"/>
                  </a:cubicBezTo>
                  <a:cubicBezTo>
                    <a:pt x="508518" y="462775"/>
                    <a:pt x="528752" y="433489"/>
                    <a:pt x="520765" y="410060"/>
                  </a:cubicBezTo>
                  <a:cubicBezTo>
                    <a:pt x="481361" y="410060"/>
                    <a:pt x="436633" y="468633"/>
                    <a:pt x="410542" y="492062"/>
                  </a:cubicBezTo>
                  <a:cubicBezTo>
                    <a:pt x="350904" y="535725"/>
                    <a:pt x="344514" y="545842"/>
                    <a:pt x="317358" y="562882"/>
                  </a:cubicBezTo>
                  <a:cubicBezTo>
                    <a:pt x="230563" y="587908"/>
                    <a:pt x="229498" y="586843"/>
                    <a:pt x="217251" y="666715"/>
                  </a:cubicBezTo>
                  <a:cubicBezTo>
                    <a:pt x="223109" y="787056"/>
                    <a:pt x="199147" y="934553"/>
                    <a:pt x="155484" y="1054893"/>
                  </a:cubicBezTo>
                  <a:cubicBezTo>
                    <a:pt x="148561" y="1096959"/>
                    <a:pt x="143237" y="1138492"/>
                    <a:pt x="136314" y="1180026"/>
                  </a:cubicBezTo>
                  <a:cubicBezTo>
                    <a:pt x="136314" y="1218897"/>
                    <a:pt x="147496" y="1292379"/>
                    <a:pt x="100106" y="1312613"/>
                  </a:cubicBezTo>
                  <a:cubicBezTo>
                    <a:pt x="95846" y="1309951"/>
                    <a:pt x="91054" y="1307821"/>
                    <a:pt x="87859" y="1305691"/>
                  </a:cubicBezTo>
                  <a:cubicBezTo>
                    <a:pt x="58572" y="1289717"/>
                    <a:pt x="38338" y="1276405"/>
                    <a:pt x="21299" y="1256170"/>
                  </a:cubicBezTo>
                  <a:cubicBezTo>
                    <a:pt x="9052" y="1192805"/>
                    <a:pt x="9052" y="1192805"/>
                    <a:pt x="1064" y="1121985"/>
                  </a:cubicBezTo>
                  <a:cubicBezTo>
                    <a:pt x="1064" y="1084179"/>
                    <a:pt x="2129" y="1045841"/>
                    <a:pt x="2129" y="1009632"/>
                  </a:cubicBezTo>
                  <a:cubicBezTo>
                    <a:pt x="4259" y="937215"/>
                    <a:pt x="5324" y="866395"/>
                    <a:pt x="6389" y="796640"/>
                  </a:cubicBezTo>
                  <a:cubicBezTo>
                    <a:pt x="5324" y="770549"/>
                    <a:pt x="5324" y="744990"/>
                    <a:pt x="4259" y="718898"/>
                  </a:cubicBezTo>
                  <a:cubicBezTo>
                    <a:pt x="2129" y="692807"/>
                    <a:pt x="0" y="666183"/>
                    <a:pt x="0" y="639026"/>
                  </a:cubicBezTo>
                  <a:lnTo>
                    <a:pt x="0" y="632104"/>
                  </a:lnTo>
                  <a:cubicBezTo>
                    <a:pt x="0" y="576726"/>
                    <a:pt x="12779" y="526141"/>
                    <a:pt x="65495" y="504841"/>
                  </a:cubicBezTo>
                  <a:cubicBezTo>
                    <a:pt x="76677" y="510166"/>
                    <a:pt x="82001" y="521881"/>
                    <a:pt x="87859" y="536258"/>
                  </a:cubicBezTo>
                  <a:cubicBezTo>
                    <a:pt x="95846" y="559687"/>
                    <a:pt x="100106" y="590038"/>
                    <a:pt x="116080" y="617195"/>
                  </a:cubicBezTo>
                  <a:cubicBezTo>
                    <a:pt x="177848" y="637429"/>
                    <a:pt x="144302" y="715171"/>
                    <a:pt x="144302" y="775874"/>
                  </a:cubicBezTo>
                  <a:cubicBezTo>
                    <a:pt x="157614" y="754574"/>
                    <a:pt x="162406" y="724223"/>
                    <a:pt x="165601" y="702924"/>
                  </a:cubicBezTo>
                  <a:cubicBezTo>
                    <a:pt x="173588" y="601220"/>
                    <a:pt x="165601" y="565544"/>
                    <a:pt x="223109" y="498984"/>
                  </a:cubicBezTo>
                  <a:cubicBezTo>
                    <a:pt x="258252" y="476087"/>
                    <a:pt x="313098" y="445736"/>
                    <a:pt x="339189" y="424437"/>
                  </a:cubicBezTo>
                  <a:cubicBezTo>
                    <a:pt x="521830" y="322733"/>
                    <a:pt x="521830" y="322733"/>
                    <a:pt x="536207" y="310486"/>
                  </a:cubicBezTo>
                  <a:cubicBezTo>
                    <a:pt x="577740" y="245524"/>
                    <a:pt x="584130" y="161924"/>
                    <a:pt x="609157" y="91105"/>
                  </a:cubicBezTo>
                  <a:cubicBezTo>
                    <a:pt x="619274" y="60753"/>
                    <a:pt x="634183" y="31467"/>
                    <a:pt x="656547" y="8038"/>
                  </a:cubicBezTo>
                  <a:cubicBezTo>
                    <a:pt x="664135" y="5509"/>
                    <a:pt x="671024" y="4610"/>
                    <a:pt x="677122" y="5334"/>
                  </a:cubicBezTo>
                  <a:close/>
                  <a:moveTo>
                    <a:pt x="3645157" y="983"/>
                  </a:moveTo>
                  <a:cubicBezTo>
                    <a:pt x="3663860" y="4710"/>
                    <a:pt x="3686358" y="18421"/>
                    <a:pt x="3704994" y="31467"/>
                  </a:cubicBezTo>
                  <a:cubicBezTo>
                    <a:pt x="3740138" y="88975"/>
                    <a:pt x="3691682" y="112404"/>
                    <a:pt x="3640564" y="159795"/>
                  </a:cubicBezTo>
                  <a:cubicBezTo>
                    <a:pt x="3611278" y="197068"/>
                    <a:pt x="3580926" y="237537"/>
                    <a:pt x="3543652" y="268953"/>
                  </a:cubicBezTo>
                  <a:cubicBezTo>
                    <a:pt x="3543652" y="271083"/>
                    <a:pt x="3544718" y="275875"/>
                    <a:pt x="3544718" y="279070"/>
                  </a:cubicBezTo>
                  <a:cubicBezTo>
                    <a:pt x="3595303" y="289187"/>
                    <a:pt x="3619265" y="274810"/>
                    <a:pt x="3621394" y="334448"/>
                  </a:cubicBezTo>
                  <a:cubicBezTo>
                    <a:pt x="3606485" y="359475"/>
                    <a:pt x="3580926" y="382904"/>
                    <a:pt x="3587849" y="419112"/>
                  </a:cubicBezTo>
                  <a:cubicBezTo>
                    <a:pt x="3663460" y="393021"/>
                    <a:pt x="3731086" y="354682"/>
                    <a:pt x="3812022" y="414853"/>
                  </a:cubicBezTo>
                  <a:cubicBezTo>
                    <a:pt x="3812022" y="416450"/>
                    <a:pt x="3812022" y="419112"/>
                    <a:pt x="3812022" y="421242"/>
                  </a:cubicBezTo>
                  <a:lnTo>
                    <a:pt x="3812022" y="443606"/>
                  </a:lnTo>
                  <a:cubicBezTo>
                    <a:pt x="3804035" y="511232"/>
                    <a:pt x="3718306" y="538389"/>
                    <a:pt x="3680500" y="594299"/>
                  </a:cubicBezTo>
                  <a:cubicBezTo>
                    <a:pt x="3671448" y="598559"/>
                    <a:pt x="3662396" y="604416"/>
                    <a:pt x="3654409" y="611339"/>
                  </a:cubicBezTo>
                  <a:cubicBezTo>
                    <a:pt x="3631245" y="611871"/>
                    <a:pt x="3609547" y="617462"/>
                    <a:pt x="3588713" y="625782"/>
                  </a:cubicBezTo>
                  <a:lnTo>
                    <a:pt x="3528743" y="656327"/>
                  </a:lnTo>
                  <a:lnTo>
                    <a:pt x="3528743" y="539454"/>
                  </a:lnTo>
                  <a:lnTo>
                    <a:pt x="3528210" y="540085"/>
                  </a:lnTo>
                  <a:lnTo>
                    <a:pt x="3528210" y="539454"/>
                  </a:lnTo>
                  <a:cubicBezTo>
                    <a:pt x="3539393" y="525077"/>
                    <a:pt x="3549510" y="514427"/>
                    <a:pt x="3607018" y="543714"/>
                  </a:cubicBezTo>
                  <a:cubicBezTo>
                    <a:pt x="3662396" y="536791"/>
                    <a:pt x="3687954" y="488336"/>
                    <a:pt x="3715111" y="446801"/>
                  </a:cubicBezTo>
                  <a:cubicBezTo>
                    <a:pt x="3702864" y="404203"/>
                    <a:pt x="3566549" y="469165"/>
                    <a:pt x="3537263" y="475024"/>
                  </a:cubicBezTo>
                  <a:lnTo>
                    <a:pt x="3528743" y="483543"/>
                  </a:lnTo>
                  <a:lnTo>
                    <a:pt x="3528743" y="193873"/>
                  </a:lnTo>
                  <a:lnTo>
                    <a:pt x="3528210" y="194459"/>
                  </a:lnTo>
                  <a:lnTo>
                    <a:pt x="3528210" y="193873"/>
                  </a:lnTo>
                  <a:cubicBezTo>
                    <a:pt x="3574537" y="146483"/>
                    <a:pt x="3615005" y="96962"/>
                    <a:pt x="3608082" y="30402"/>
                  </a:cubicBezTo>
                  <a:cubicBezTo>
                    <a:pt x="3611543" y="3512"/>
                    <a:pt x="3626453" y="-2745"/>
                    <a:pt x="3645157" y="983"/>
                  </a:cubicBez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49" name="îṥlîḋê"/>
            <p:cNvSpPr/>
            <p:nvPr userDrawn="1"/>
          </p:nvSpPr>
          <p:spPr>
            <a:xfrm>
              <a:off x="4486927" y="4159426"/>
              <a:ext cx="3700885" cy="373260"/>
            </a:xfrm>
            <a:custGeom>
              <a:avLst/>
              <a:gdLst>
                <a:gd name="connsiteX0" fmla="*/ 2873364 w 3817880"/>
                <a:gd name="connsiteY0" fmla="*/ 329175 h 420659"/>
                <a:gd name="connsiteX1" fmla="*/ 2873364 w 3817880"/>
                <a:gd name="connsiteY1" fmla="*/ 302019 h 420659"/>
                <a:gd name="connsiteX2" fmla="*/ 2893598 w 3817880"/>
                <a:gd name="connsiteY2" fmla="*/ 304149 h 420659"/>
                <a:gd name="connsiteX3" fmla="*/ 2926080 w 3817880"/>
                <a:gd name="connsiteY3" fmla="*/ 298291 h 420659"/>
                <a:gd name="connsiteX4" fmla="*/ 2962288 w 3817880"/>
                <a:gd name="connsiteY4" fmla="*/ 278057 h 420659"/>
                <a:gd name="connsiteX5" fmla="*/ 2962288 w 3817880"/>
                <a:gd name="connsiteY5" fmla="*/ 303084 h 420659"/>
                <a:gd name="connsiteX6" fmla="*/ 2921820 w 3817880"/>
                <a:gd name="connsiteY6" fmla="*/ 322253 h 420659"/>
                <a:gd name="connsiteX7" fmla="*/ 2880286 w 3817880"/>
                <a:gd name="connsiteY7" fmla="*/ 329175 h 420659"/>
                <a:gd name="connsiteX8" fmla="*/ 2873364 w 3817880"/>
                <a:gd name="connsiteY8" fmla="*/ 329175 h 420659"/>
                <a:gd name="connsiteX9" fmla="*/ 2873364 w 3817880"/>
                <a:gd name="connsiteY9" fmla="*/ 329175 h 420659"/>
                <a:gd name="connsiteX10" fmla="*/ 2873364 w 3817880"/>
                <a:gd name="connsiteY10" fmla="*/ 209367 h 420659"/>
                <a:gd name="connsiteX11" fmla="*/ 2873364 w 3817880"/>
                <a:gd name="connsiteY11" fmla="*/ 191263 h 420659"/>
                <a:gd name="connsiteX12" fmla="*/ 2922885 w 3817880"/>
                <a:gd name="connsiteY12" fmla="*/ 191263 h 420659"/>
                <a:gd name="connsiteX13" fmla="*/ 2922885 w 3817880"/>
                <a:gd name="connsiteY13" fmla="*/ 184341 h 420659"/>
                <a:gd name="connsiteX14" fmla="*/ 2911703 w 3817880"/>
                <a:gd name="connsiteY14" fmla="*/ 143872 h 420659"/>
                <a:gd name="connsiteX15" fmla="*/ 2878156 w 3817880"/>
                <a:gd name="connsiteY15" fmla="*/ 128963 h 420659"/>
                <a:gd name="connsiteX16" fmla="*/ 2873897 w 3817880"/>
                <a:gd name="connsiteY16" fmla="*/ 128963 h 420659"/>
                <a:gd name="connsiteX17" fmla="*/ 2873897 w 3817880"/>
                <a:gd name="connsiteY17" fmla="*/ 109794 h 420659"/>
                <a:gd name="connsiteX18" fmla="*/ 2884014 w 3817880"/>
                <a:gd name="connsiteY18" fmla="*/ 108729 h 420659"/>
                <a:gd name="connsiteX19" fmla="*/ 2941522 w 3817880"/>
                <a:gd name="connsiteY19" fmla="*/ 132158 h 420659"/>
                <a:gd name="connsiteX20" fmla="*/ 2962821 w 3817880"/>
                <a:gd name="connsiteY20" fmla="*/ 194990 h 420659"/>
                <a:gd name="connsiteX21" fmla="*/ 2962821 w 3817880"/>
                <a:gd name="connsiteY21" fmla="*/ 202978 h 420659"/>
                <a:gd name="connsiteX22" fmla="*/ 2962821 w 3817880"/>
                <a:gd name="connsiteY22" fmla="*/ 208835 h 420659"/>
                <a:gd name="connsiteX23" fmla="*/ 2873364 w 3817880"/>
                <a:gd name="connsiteY23" fmla="*/ 208835 h 420659"/>
                <a:gd name="connsiteX24" fmla="*/ 2873364 w 3817880"/>
                <a:gd name="connsiteY24" fmla="*/ 209367 h 420659"/>
                <a:gd name="connsiteX25" fmla="*/ 2994770 w 3817880"/>
                <a:gd name="connsiteY25" fmla="*/ 325448 h 420659"/>
                <a:gd name="connsiteX26" fmla="*/ 2994770 w 3817880"/>
                <a:gd name="connsiteY26" fmla="*/ 309473 h 420659"/>
                <a:gd name="connsiteX27" fmla="*/ 3017134 w 3817880"/>
                <a:gd name="connsiteY27" fmla="*/ 307343 h 420659"/>
                <a:gd name="connsiteX28" fmla="*/ 3025121 w 3817880"/>
                <a:gd name="connsiteY28" fmla="*/ 299356 h 420659"/>
                <a:gd name="connsiteX29" fmla="*/ 3025121 w 3817880"/>
                <a:gd name="connsiteY29" fmla="*/ 141742 h 420659"/>
                <a:gd name="connsiteX30" fmla="*/ 2994770 w 3817880"/>
                <a:gd name="connsiteY30" fmla="*/ 141742 h 420659"/>
                <a:gd name="connsiteX31" fmla="*/ 2994770 w 3817880"/>
                <a:gd name="connsiteY31" fmla="*/ 127365 h 420659"/>
                <a:gd name="connsiteX32" fmla="*/ 3045355 w 3817880"/>
                <a:gd name="connsiteY32" fmla="*/ 112456 h 420659"/>
                <a:gd name="connsiteX33" fmla="*/ 3062395 w 3817880"/>
                <a:gd name="connsiteY33" fmla="*/ 112456 h 420659"/>
                <a:gd name="connsiteX34" fmla="*/ 3062395 w 3817880"/>
                <a:gd name="connsiteY34" fmla="*/ 152924 h 420659"/>
                <a:gd name="connsiteX35" fmla="*/ 3083694 w 3817880"/>
                <a:gd name="connsiteY35" fmla="*/ 131625 h 420659"/>
                <a:gd name="connsiteX36" fmla="*/ 3108720 w 3817880"/>
                <a:gd name="connsiteY36" fmla="*/ 110326 h 420659"/>
                <a:gd name="connsiteX37" fmla="*/ 3112980 w 3817880"/>
                <a:gd name="connsiteY37" fmla="*/ 110326 h 420659"/>
                <a:gd name="connsiteX38" fmla="*/ 3119902 w 3817880"/>
                <a:gd name="connsiteY38" fmla="*/ 109261 h 420659"/>
                <a:gd name="connsiteX39" fmla="*/ 3132149 w 3817880"/>
                <a:gd name="connsiteY39" fmla="*/ 111391 h 420659"/>
                <a:gd name="connsiteX40" fmla="*/ 3145461 w 3817880"/>
                <a:gd name="connsiteY40" fmla="*/ 115651 h 420659"/>
                <a:gd name="connsiteX41" fmla="*/ 3145461 w 3817880"/>
                <a:gd name="connsiteY41" fmla="*/ 152924 h 420659"/>
                <a:gd name="connsiteX42" fmla="*/ 3132149 w 3817880"/>
                <a:gd name="connsiteY42" fmla="*/ 152924 h 420659"/>
                <a:gd name="connsiteX43" fmla="*/ 3122032 w 3817880"/>
                <a:gd name="connsiteY43" fmla="*/ 144937 h 420659"/>
                <a:gd name="connsiteX44" fmla="*/ 3109785 w 3817880"/>
                <a:gd name="connsiteY44" fmla="*/ 142807 h 420659"/>
                <a:gd name="connsiteX45" fmla="*/ 3087421 w 3817880"/>
                <a:gd name="connsiteY45" fmla="*/ 150794 h 420659"/>
                <a:gd name="connsiteX46" fmla="*/ 3062395 w 3817880"/>
                <a:gd name="connsiteY46" fmla="*/ 174223 h 420659"/>
                <a:gd name="connsiteX47" fmla="*/ 3062395 w 3817880"/>
                <a:gd name="connsiteY47" fmla="*/ 299356 h 420659"/>
                <a:gd name="connsiteX48" fmla="*/ 3069317 w 3817880"/>
                <a:gd name="connsiteY48" fmla="*/ 307343 h 420659"/>
                <a:gd name="connsiteX49" fmla="*/ 3099668 w 3817880"/>
                <a:gd name="connsiteY49" fmla="*/ 309473 h 420659"/>
                <a:gd name="connsiteX50" fmla="*/ 3099668 w 3817880"/>
                <a:gd name="connsiteY50" fmla="*/ 325448 h 420659"/>
                <a:gd name="connsiteX51" fmla="*/ 2994770 w 3817880"/>
                <a:gd name="connsiteY51" fmla="*/ 325448 h 420659"/>
                <a:gd name="connsiteX52" fmla="*/ 2994770 w 3817880"/>
                <a:gd name="connsiteY52" fmla="*/ 325448 h 420659"/>
                <a:gd name="connsiteX53" fmla="*/ 3299880 w 3817880"/>
                <a:gd name="connsiteY53" fmla="*/ 119378 h 420659"/>
                <a:gd name="connsiteX54" fmla="*/ 3299880 w 3817880"/>
                <a:gd name="connsiteY54" fmla="*/ 168899 h 420659"/>
                <a:gd name="connsiteX55" fmla="*/ 3277516 w 3817880"/>
                <a:gd name="connsiteY55" fmla="*/ 168899 h 420659"/>
                <a:gd name="connsiteX56" fmla="*/ 3274322 w 3817880"/>
                <a:gd name="connsiteY56" fmla="*/ 138547 h 420659"/>
                <a:gd name="connsiteX57" fmla="*/ 3257282 w 3817880"/>
                <a:gd name="connsiteY57" fmla="*/ 130560 h 420659"/>
                <a:gd name="connsiteX58" fmla="*/ 3241308 w 3817880"/>
                <a:gd name="connsiteY58" fmla="*/ 128430 h 420659"/>
                <a:gd name="connsiteX59" fmla="*/ 3215216 w 3817880"/>
                <a:gd name="connsiteY59" fmla="*/ 137482 h 420659"/>
                <a:gd name="connsiteX60" fmla="*/ 3205099 w 3817880"/>
                <a:gd name="connsiteY60" fmla="*/ 159847 h 420659"/>
                <a:gd name="connsiteX61" fmla="*/ 3213086 w 3817880"/>
                <a:gd name="connsiteY61" fmla="*/ 181146 h 420659"/>
                <a:gd name="connsiteX62" fmla="*/ 3242373 w 3817880"/>
                <a:gd name="connsiteY62" fmla="*/ 200315 h 420659"/>
                <a:gd name="connsiteX63" fmla="*/ 3253555 w 3817880"/>
                <a:gd name="connsiteY63" fmla="*/ 204575 h 420659"/>
                <a:gd name="connsiteX64" fmla="*/ 3288699 w 3817880"/>
                <a:gd name="connsiteY64" fmla="*/ 224809 h 420659"/>
                <a:gd name="connsiteX65" fmla="*/ 3300946 w 3817880"/>
                <a:gd name="connsiteY65" fmla="*/ 241848 h 420659"/>
                <a:gd name="connsiteX66" fmla="*/ 3305205 w 3817880"/>
                <a:gd name="connsiteY66" fmla="*/ 263148 h 420659"/>
                <a:gd name="connsiteX67" fmla="*/ 3283906 w 3817880"/>
                <a:gd name="connsiteY67" fmla="*/ 311603 h 420659"/>
                <a:gd name="connsiteX68" fmla="*/ 3223203 w 3817880"/>
                <a:gd name="connsiteY68" fmla="*/ 328643 h 420659"/>
                <a:gd name="connsiteX69" fmla="*/ 3193917 w 3817880"/>
                <a:gd name="connsiteY69" fmla="*/ 326513 h 420659"/>
                <a:gd name="connsiteX70" fmla="*/ 3166761 w 3817880"/>
                <a:gd name="connsiteY70" fmla="*/ 319591 h 420659"/>
                <a:gd name="connsiteX71" fmla="*/ 3166761 w 3817880"/>
                <a:gd name="connsiteY71" fmla="*/ 262083 h 420659"/>
                <a:gd name="connsiteX72" fmla="*/ 3188060 w 3817880"/>
                <a:gd name="connsiteY72" fmla="*/ 262083 h 420659"/>
                <a:gd name="connsiteX73" fmla="*/ 3192319 w 3817880"/>
                <a:gd name="connsiteY73" fmla="*/ 299356 h 420659"/>
                <a:gd name="connsiteX74" fmla="*/ 3211489 w 3817880"/>
                <a:gd name="connsiteY74" fmla="*/ 307343 h 420659"/>
                <a:gd name="connsiteX75" fmla="*/ 3229593 w 3817880"/>
                <a:gd name="connsiteY75" fmla="*/ 310538 h 420659"/>
                <a:gd name="connsiteX76" fmla="*/ 3259944 w 3817880"/>
                <a:gd name="connsiteY76" fmla="*/ 300421 h 420659"/>
                <a:gd name="connsiteX77" fmla="*/ 3271126 w 3817880"/>
                <a:gd name="connsiteY77" fmla="*/ 274330 h 420659"/>
                <a:gd name="connsiteX78" fmla="*/ 3263139 w 3817880"/>
                <a:gd name="connsiteY78" fmla="*/ 253031 h 420659"/>
                <a:gd name="connsiteX79" fmla="*/ 3225866 w 3817880"/>
                <a:gd name="connsiteY79" fmla="*/ 230666 h 420659"/>
                <a:gd name="connsiteX80" fmla="*/ 3182203 w 3817880"/>
                <a:gd name="connsiteY80" fmla="*/ 203510 h 420659"/>
                <a:gd name="connsiteX81" fmla="*/ 3169955 w 3817880"/>
                <a:gd name="connsiteY81" fmla="*/ 171029 h 420659"/>
                <a:gd name="connsiteX82" fmla="*/ 3190190 w 3817880"/>
                <a:gd name="connsiteY82" fmla="*/ 125768 h 420659"/>
                <a:gd name="connsiteX83" fmla="*/ 3247698 w 3817880"/>
                <a:gd name="connsiteY83" fmla="*/ 108729 h 420659"/>
                <a:gd name="connsiteX84" fmla="*/ 3274854 w 3817880"/>
                <a:gd name="connsiteY84" fmla="*/ 111923 h 420659"/>
                <a:gd name="connsiteX85" fmla="*/ 3299880 w 3817880"/>
                <a:gd name="connsiteY85" fmla="*/ 119378 h 420659"/>
                <a:gd name="connsiteX86" fmla="*/ 3299880 w 3817880"/>
                <a:gd name="connsiteY86" fmla="*/ 119378 h 420659"/>
                <a:gd name="connsiteX87" fmla="*/ 3389870 w 3817880"/>
                <a:gd name="connsiteY87" fmla="*/ 112988 h 420659"/>
                <a:gd name="connsiteX88" fmla="*/ 3406909 w 3817880"/>
                <a:gd name="connsiteY88" fmla="*/ 112988 h 420659"/>
                <a:gd name="connsiteX89" fmla="*/ 3406909 w 3817880"/>
                <a:gd name="connsiteY89" fmla="*/ 299889 h 420659"/>
                <a:gd name="connsiteX90" fmla="*/ 3413831 w 3817880"/>
                <a:gd name="connsiteY90" fmla="*/ 307876 h 420659"/>
                <a:gd name="connsiteX91" fmla="*/ 3437261 w 3817880"/>
                <a:gd name="connsiteY91" fmla="*/ 310006 h 420659"/>
                <a:gd name="connsiteX92" fmla="*/ 3437261 w 3817880"/>
                <a:gd name="connsiteY92" fmla="*/ 325980 h 420659"/>
                <a:gd name="connsiteX93" fmla="*/ 3339284 w 3817880"/>
                <a:gd name="connsiteY93" fmla="*/ 325980 h 420659"/>
                <a:gd name="connsiteX94" fmla="*/ 3339284 w 3817880"/>
                <a:gd name="connsiteY94" fmla="*/ 310006 h 420659"/>
                <a:gd name="connsiteX95" fmla="*/ 3361648 w 3817880"/>
                <a:gd name="connsiteY95" fmla="*/ 307876 h 420659"/>
                <a:gd name="connsiteX96" fmla="*/ 3369635 w 3817880"/>
                <a:gd name="connsiteY96" fmla="*/ 299889 h 420659"/>
                <a:gd name="connsiteX97" fmla="*/ 3369635 w 3817880"/>
                <a:gd name="connsiteY97" fmla="*/ 142275 h 420659"/>
                <a:gd name="connsiteX98" fmla="*/ 3339284 w 3817880"/>
                <a:gd name="connsiteY98" fmla="*/ 142275 h 420659"/>
                <a:gd name="connsiteX99" fmla="*/ 3339284 w 3817880"/>
                <a:gd name="connsiteY99" fmla="*/ 127365 h 420659"/>
                <a:gd name="connsiteX100" fmla="*/ 3389870 w 3817880"/>
                <a:gd name="connsiteY100" fmla="*/ 112988 h 420659"/>
                <a:gd name="connsiteX101" fmla="*/ 3389870 w 3817880"/>
                <a:gd name="connsiteY101" fmla="*/ 112988 h 420659"/>
                <a:gd name="connsiteX102" fmla="*/ 3390934 w 3817880"/>
                <a:gd name="connsiteY102" fmla="*/ 15012 h 420659"/>
                <a:gd name="connsiteX103" fmla="*/ 3409039 w 3817880"/>
                <a:gd name="connsiteY103" fmla="*/ 22999 h 420659"/>
                <a:gd name="connsiteX104" fmla="*/ 3417026 w 3817880"/>
                <a:gd name="connsiteY104" fmla="*/ 41104 h 420659"/>
                <a:gd name="connsiteX105" fmla="*/ 3409039 w 3817880"/>
                <a:gd name="connsiteY105" fmla="*/ 58143 h 420659"/>
                <a:gd name="connsiteX106" fmla="*/ 3390934 w 3817880"/>
                <a:gd name="connsiteY106" fmla="*/ 66130 h 420659"/>
                <a:gd name="connsiteX107" fmla="*/ 3372830 w 3817880"/>
                <a:gd name="connsiteY107" fmla="*/ 58143 h 420659"/>
                <a:gd name="connsiteX108" fmla="*/ 3365908 w 3817880"/>
                <a:gd name="connsiteY108" fmla="*/ 41104 h 420659"/>
                <a:gd name="connsiteX109" fmla="*/ 3372830 w 3817880"/>
                <a:gd name="connsiteY109" fmla="*/ 22999 h 420659"/>
                <a:gd name="connsiteX110" fmla="*/ 3390934 w 3817880"/>
                <a:gd name="connsiteY110" fmla="*/ 15012 h 420659"/>
                <a:gd name="connsiteX111" fmla="*/ 3390934 w 3817880"/>
                <a:gd name="connsiteY111" fmla="*/ 15012 h 420659"/>
                <a:gd name="connsiteX112" fmla="*/ 3484651 w 3817880"/>
                <a:gd name="connsiteY112" fmla="*/ 140677 h 420659"/>
                <a:gd name="connsiteX113" fmla="*/ 3457494 w 3817880"/>
                <a:gd name="connsiteY113" fmla="*/ 140677 h 420659"/>
                <a:gd name="connsiteX114" fmla="*/ 3457494 w 3817880"/>
                <a:gd name="connsiteY114" fmla="*/ 127365 h 420659"/>
                <a:gd name="connsiteX115" fmla="*/ 3485716 w 3817880"/>
                <a:gd name="connsiteY115" fmla="*/ 114053 h 420659"/>
                <a:gd name="connsiteX116" fmla="*/ 3504885 w 3817880"/>
                <a:gd name="connsiteY116" fmla="*/ 73585 h 420659"/>
                <a:gd name="connsiteX117" fmla="*/ 3521924 w 3817880"/>
                <a:gd name="connsiteY117" fmla="*/ 73585 h 420659"/>
                <a:gd name="connsiteX118" fmla="*/ 3521924 w 3817880"/>
                <a:gd name="connsiteY118" fmla="*/ 120975 h 420659"/>
                <a:gd name="connsiteX119" fmla="*/ 3588484 w 3817880"/>
                <a:gd name="connsiteY119" fmla="*/ 120975 h 420659"/>
                <a:gd name="connsiteX120" fmla="*/ 3588484 w 3817880"/>
                <a:gd name="connsiteY120" fmla="*/ 141210 h 420659"/>
                <a:gd name="connsiteX121" fmla="*/ 3521924 w 3817880"/>
                <a:gd name="connsiteY121" fmla="*/ 141210 h 420659"/>
                <a:gd name="connsiteX122" fmla="*/ 3521924 w 3817880"/>
                <a:gd name="connsiteY122" fmla="*/ 256225 h 420659"/>
                <a:gd name="connsiteX123" fmla="*/ 3529912 w 3817880"/>
                <a:gd name="connsiteY123" fmla="*/ 294564 h 420659"/>
                <a:gd name="connsiteX124" fmla="*/ 3558133 w 3817880"/>
                <a:gd name="connsiteY124" fmla="*/ 304681 h 420659"/>
                <a:gd name="connsiteX125" fmla="*/ 3573043 w 3817880"/>
                <a:gd name="connsiteY125" fmla="*/ 303616 h 420659"/>
                <a:gd name="connsiteX126" fmla="*/ 3589017 w 3817880"/>
                <a:gd name="connsiteY126" fmla="*/ 301486 h 420659"/>
                <a:gd name="connsiteX127" fmla="*/ 3589017 w 3817880"/>
                <a:gd name="connsiteY127" fmla="*/ 317461 h 420659"/>
                <a:gd name="connsiteX128" fmla="*/ 3559731 w 3817880"/>
                <a:gd name="connsiteY128" fmla="*/ 325448 h 420659"/>
                <a:gd name="connsiteX129" fmla="*/ 3531509 w 3817880"/>
                <a:gd name="connsiteY129" fmla="*/ 327578 h 420659"/>
                <a:gd name="connsiteX130" fmla="*/ 3495300 w 3817880"/>
                <a:gd name="connsiteY130" fmla="*/ 317461 h 420659"/>
                <a:gd name="connsiteX131" fmla="*/ 3485184 w 3817880"/>
                <a:gd name="connsiteY131" fmla="*/ 282317 h 420659"/>
                <a:gd name="connsiteX132" fmla="*/ 3485184 w 3817880"/>
                <a:gd name="connsiteY132" fmla="*/ 140677 h 420659"/>
                <a:gd name="connsiteX133" fmla="*/ 3484651 w 3817880"/>
                <a:gd name="connsiteY133" fmla="*/ 140677 h 420659"/>
                <a:gd name="connsiteX134" fmla="*/ 3592744 w 3817880"/>
                <a:gd name="connsiteY134" fmla="*/ 114053 h 420659"/>
                <a:gd name="connsiteX135" fmla="*/ 3687526 w 3817880"/>
                <a:gd name="connsiteY135" fmla="*/ 114053 h 420659"/>
                <a:gd name="connsiteX136" fmla="*/ 3687526 w 3817880"/>
                <a:gd name="connsiteY136" fmla="*/ 131093 h 420659"/>
                <a:gd name="connsiteX137" fmla="*/ 3665162 w 3817880"/>
                <a:gd name="connsiteY137" fmla="*/ 132158 h 420659"/>
                <a:gd name="connsiteX138" fmla="*/ 3659304 w 3817880"/>
                <a:gd name="connsiteY138" fmla="*/ 140145 h 420659"/>
                <a:gd name="connsiteX139" fmla="*/ 3712020 w 3817880"/>
                <a:gd name="connsiteY139" fmla="*/ 276460 h 420659"/>
                <a:gd name="connsiteX140" fmla="*/ 3765800 w 3817880"/>
                <a:gd name="connsiteY140" fmla="*/ 140145 h 420659"/>
                <a:gd name="connsiteX141" fmla="*/ 3762606 w 3817880"/>
                <a:gd name="connsiteY141" fmla="*/ 132158 h 420659"/>
                <a:gd name="connsiteX142" fmla="*/ 3739176 w 3817880"/>
                <a:gd name="connsiteY142" fmla="*/ 131093 h 420659"/>
                <a:gd name="connsiteX143" fmla="*/ 3739176 w 3817880"/>
                <a:gd name="connsiteY143" fmla="*/ 114053 h 420659"/>
                <a:gd name="connsiteX144" fmla="*/ 3817984 w 3817880"/>
                <a:gd name="connsiteY144" fmla="*/ 114053 h 420659"/>
                <a:gd name="connsiteX145" fmla="*/ 3817984 w 3817880"/>
                <a:gd name="connsiteY145" fmla="*/ 131093 h 420659"/>
                <a:gd name="connsiteX146" fmla="*/ 3791892 w 3817880"/>
                <a:gd name="connsiteY146" fmla="*/ 134287 h 420659"/>
                <a:gd name="connsiteX147" fmla="*/ 3704033 w 3817880"/>
                <a:gd name="connsiteY147" fmla="*/ 347279 h 420659"/>
                <a:gd name="connsiteX148" fmla="*/ 3671552 w 3817880"/>
                <a:gd name="connsiteY148" fmla="*/ 403722 h 420659"/>
                <a:gd name="connsiteX149" fmla="*/ 3634278 w 3817880"/>
                <a:gd name="connsiteY149" fmla="*/ 420762 h 420659"/>
                <a:gd name="connsiteX150" fmla="*/ 3611914 w 3817880"/>
                <a:gd name="connsiteY150" fmla="*/ 413839 h 420659"/>
                <a:gd name="connsiteX151" fmla="*/ 3603926 w 3817880"/>
                <a:gd name="connsiteY151" fmla="*/ 396800 h 420659"/>
                <a:gd name="connsiteX152" fmla="*/ 3606056 w 3817880"/>
                <a:gd name="connsiteY152" fmla="*/ 384553 h 420659"/>
                <a:gd name="connsiteX153" fmla="*/ 3615108 w 3817880"/>
                <a:gd name="connsiteY153" fmla="*/ 373371 h 420659"/>
                <a:gd name="connsiteX154" fmla="*/ 3656642 w 3817880"/>
                <a:gd name="connsiteY154" fmla="*/ 389345 h 420659"/>
                <a:gd name="connsiteX155" fmla="*/ 3675811 w 3817880"/>
                <a:gd name="connsiteY155" fmla="*/ 362189 h 420659"/>
                <a:gd name="connsiteX156" fmla="*/ 3692851 w 3817880"/>
                <a:gd name="connsiteY156" fmla="*/ 323850 h 420659"/>
                <a:gd name="connsiteX157" fmla="*/ 3618304 w 3817880"/>
                <a:gd name="connsiteY157" fmla="*/ 133755 h 420659"/>
                <a:gd name="connsiteX158" fmla="*/ 3592212 w 3817880"/>
                <a:gd name="connsiteY158" fmla="*/ 131625 h 420659"/>
                <a:gd name="connsiteX159" fmla="*/ 3592212 w 3817880"/>
                <a:gd name="connsiteY159" fmla="*/ 114053 h 420659"/>
                <a:gd name="connsiteX160" fmla="*/ 2548019 w 3817880"/>
                <a:gd name="connsiteY160" fmla="*/ 114053 h 420659"/>
                <a:gd name="connsiteX161" fmla="*/ 2643865 w 3817880"/>
                <a:gd name="connsiteY161" fmla="*/ 114053 h 420659"/>
                <a:gd name="connsiteX162" fmla="*/ 2643865 w 3817880"/>
                <a:gd name="connsiteY162" fmla="*/ 131093 h 420659"/>
                <a:gd name="connsiteX163" fmla="*/ 2620436 w 3817880"/>
                <a:gd name="connsiteY163" fmla="*/ 132158 h 420659"/>
                <a:gd name="connsiteX164" fmla="*/ 2616176 w 3817880"/>
                <a:gd name="connsiteY164" fmla="*/ 140145 h 420659"/>
                <a:gd name="connsiteX165" fmla="*/ 2666762 w 3817880"/>
                <a:gd name="connsiteY165" fmla="*/ 283382 h 420659"/>
                <a:gd name="connsiteX166" fmla="*/ 2723205 w 3817880"/>
                <a:gd name="connsiteY166" fmla="*/ 140145 h 420659"/>
                <a:gd name="connsiteX167" fmla="*/ 2720010 w 3817880"/>
                <a:gd name="connsiteY167" fmla="*/ 132158 h 420659"/>
                <a:gd name="connsiteX168" fmla="*/ 2696581 w 3817880"/>
                <a:gd name="connsiteY168" fmla="*/ 131093 h 420659"/>
                <a:gd name="connsiteX169" fmla="*/ 2696581 w 3817880"/>
                <a:gd name="connsiteY169" fmla="*/ 114053 h 420659"/>
                <a:gd name="connsiteX170" fmla="*/ 2773258 w 3817880"/>
                <a:gd name="connsiteY170" fmla="*/ 114053 h 420659"/>
                <a:gd name="connsiteX171" fmla="*/ 2773258 w 3817880"/>
                <a:gd name="connsiteY171" fmla="*/ 131093 h 420659"/>
                <a:gd name="connsiteX172" fmla="*/ 2748231 w 3817880"/>
                <a:gd name="connsiteY172" fmla="*/ 134287 h 420659"/>
                <a:gd name="connsiteX173" fmla="*/ 2671554 w 3817880"/>
                <a:gd name="connsiteY173" fmla="*/ 325448 h 420659"/>
                <a:gd name="connsiteX174" fmla="*/ 2646528 w 3817880"/>
                <a:gd name="connsiteY174" fmla="*/ 325448 h 420659"/>
                <a:gd name="connsiteX175" fmla="*/ 2575708 w 3817880"/>
                <a:gd name="connsiteY175" fmla="*/ 132690 h 420659"/>
                <a:gd name="connsiteX176" fmla="*/ 2548552 w 3817880"/>
                <a:gd name="connsiteY176" fmla="*/ 130560 h 420659"/>
                <a:gd name="connsiteX177" fmla="*/ 2548552 w 3817880"/>
                <a:gd name="connsiteY177" fmla="*/ 114053 h 420659"/>
                <a:gd name="connsiteX178" fmla="*/ 2548019 w 3817880"/>
                <a:gd name="connsiteY178" fmla="*/ 114053 h 420659"/>
                <a:gd name="connsiteX179" fmla="*/ 2873364 w 3817880"/>
                <a:gd name="connsiteY179" fmla="*/ 110326 h 420659"/>
                <a:gd name="connsiteX180" fmla="*/ 2873364 w 3817880"/>
                <a:gd name="connsiteY180" fmla="*/ 129495 h 420659"/>
                <a:gd name="connsiteX181" fmla="*/ 2839818 w 3817880"/>
                <a:gd name="connsiteY181" fmla="*/ 147599 h 420659"/>
                <a:gd name="connsiteX182" fmla="*/ 2822779 w 3817880"/>
                <a:gd name="connsiteY182" fmla="*/ 191263 h 420659"/>
                <a:gd name="connsiteX183" fmla="*/ 2873364 w 3817880"/>
                <a:gd name="connsiteY183" fmla="*/ 191263 h 420659"/>
                <a:gd name="connsiteX184" fmla="*/ 2873364 w 3817880"/>
                <a:gd name="connsiteY184" fmla="*/ 209367 h 420659"/>
                <a:gd name="connsiteX185" fmla="*/ 2820649 w 3817880"/>
                <a:gd name="connsiteY185" fmla="*/ 209367 h 420659"/>
                <a:gd name="connsiteX186" fmla="*/ 2820649 w 3817880"/>
                <a:gd name="connsiteY186" fmla="*/ 215224 h 420659"/>
                <a:gd name="connsiteX187" fmla="*/ 2839818 w 3817880"/>
                <a:gd name="connsiteY187" fmla="*/ 280719 h 420659"/>
                <a:gd name="connsiteX188" fmla="*/ 2873364 w 3817880"/>
                <a:gd name="connsiteY188" fmla="*/ 302019 h 420659"/>
                <a:gd name="connsiteX189" fmla="*/ 2873364 w 3817880"/>
                <a:gd name="connsiteY189" fmla="*/ 329175 h 420659"/>
                <a:gd name="connsiteX190" fmla="*/ 2808934 w 3817880"/>
                <a:gd name="connsiteY190" fmla="*/ 299889 h 420659"/>
                <a:gd name="connsiteX191" fmla="*/ 2781778 w 3817880"/>
                <a:gd name="connsiteY191" fmla="*/ 221082 h 420659"/>
                <a:gd name="connsiteX192" fmla="*/ 2809999 w 3817880"/>
                <a:gd name="connsiteY192" fmla="*/ 141210 h 420659"/>
                <a:gd name="connsiteX193" fmla="*/ 2873364 w 3817880"/>
                <a:gd name="connsiteY193" fmla="*/ 110326 h 420659"/>
                <a:gd name="connsiteX194" fmla="*/ 2873364 w 3817880"/>
                <a:gd name="connsiteY194" fmla="*/ 110326 h 420659"/>
                <a:gd name="connsiteX195" fmla="*/ 1632686 w 3817880"/>
                <a:gd name="connsiteY195" fmla="*/ 323318 h 420659"/>
                <a:gd name="connsiteX196" fmla="*/ 1632686 w 3817880"/>
                <a:gd name="connsiteY196" fmla="*/ 304149 h 420659"/>
                <a:gd name="connsiteX197" fmla="*/ 1647063 w 3817880"/>
                <a:gd name="connsiteY197" fmla="*/ 299889 h 420659"/>
                <a:gd name="connsiteX198" fmla="*/ 1677414 w 3817880"/>
                <a:gd name="connsiteY198" fmla="*/ 285512 h 420659"/>
                <a:gd name="connsiteX199" fmla="*/ 1677414 w 3817880"/>
                <a:gd name="connsiteY199" fmla="*/ 207237 h 420659"/>
                <a:gd name="connsiteX200" fmla="*/ 1632153 w 3817880"/>
                <a:gd name="connsiteY200" fmla="*/ 222147 h 420659"/>
                <a:gd name="connsiteX201" fmla="*/ 1632153 w 3817880"/>
                <a:gd name="connsiteY201" fmla="*/ 204042 h 420659"/>
                <a:gd name="connsiteX202" fmla="*/ 1677414 w 3817880"/>
                <a:gd name="connsiteY202" fmla="*/ 192860 h 420659"/>
                <a:gd name="connsiteX203" fmla="*/ 1677414 w 3817880"/>
                <a:gd name="connsiteY203" fmla="*/ 178483 h 420659"/>
                <a:gd name="connsiteX204" fmla="*/ 1668362 w 3817880"/>
                <a:gd name="connsiteY204" fmla="*/ 140145 h 420659"/>
                <a:gd name="connsiteX205" fmla="*/ 1636946 w 3817880"/>
                <a:gd name="connsiteY205" fmla="*/ 130028 h 420659"/>
                <a:gd name="connsiteX206" fmla="*/ 1632686 w 3817880"/>
                <a:gd name="connsiteY206" fmla="*/ 130028 h 420659"/>
                <a:gd name="connsiteX207" fmla="*/ 1632686 w 3817880"/>
                <a:gd name="connsiteY207" fmla="*/ 110858 h 420659"/>
                <a:gd name="connsiteX208" fmla="*/ 1648660 w 3817880"/>
                <a:gd name="connsiteY208" fmla="*/ 109794 h 420659"/>
                <a:gd name="connsiteX209" fmla="*/ 1699246 w 3817880"/>
                <a:gd name="connsiteY209" fmla="*/ 125768 h 420659"/>
                <a:gd name="connsiteX210" fmla="*/ 1715220 w 3817880"/>
                <a:gd name="connsiteY210" fmla="*/ 174223 h 420659"/>
                <a:gd name="connsiteX211" fmla="*/ 1715220 w 3817880"/>
                <a:gd name="connsiteY211" fmla="*/ 300421 h 420659"/>
                <a:gd name="connsiteX212" fmla="*/ 1722143 w 3817880"/>
                <a:gd name="connsiteY212" fmla="*/ 308408 h 420659"/>
                <a:gd name="connsiteX213" fmla="*/ 1745572 w 3817880"/>
                <a:gd name="connsiteY213" fmla="*/ 310538 h 420659"/>
                <a:gd name="connsiteX214" fmla="*/ 1745572 w 3817880"/>
                <a:gd name="connsiteY214" fmla="*/ 326513 h 420659"/>
                <a:gd name="connsiteX215" fmla="*/ 1683804 w 3817880"/>
                <a:gd name="connsiteY215" fmla="*/ 326513 h 420659"/>
                <a:gd name="connsiteX216" fmla="*/ 1677947 w 3817880"/>
                <a:gd name="connsiteY216" fmla="*/ 300421 h 420659"/>
                <a:gd name="connsiteX217" fmla="*/ 1638543 w 3817880"/>
                <a:gd name="connsiteY217" fmla="*/ 321720 h 420659"/>
                <a:gd name="connsiteX218" fmla="*/ 1632686 w 3817880"/>
                <a:gd name="connsiteY218" fmla="*/ 323318 h 420659"/>
                <a:gd name="connsiteX219" fmla="*/ 1632686 w 3817880"/>
                <a:gd name="connsiteY219" fmla="*/ 323318 h 420659"/>
                <a:gd name="connsiteX220" fmla="*/ 2494771 w 3817880"/>
                <a:gd name="connsiteY220" fmla="*/ 15012 h 420659"/>
                <a:gd name="connsiteX221" fmla="*/ 2512875 w 3817880"/>
                <a:gd name="connsiteY221" fmla="*/ 22999 h 420659"/>
                <a:gd name="connsiteX222" fmla="*/ 2520862 w 3817880"/>
                <a:gd name="connsiteY222" fmla="*/ 41104 h 420659"/>
                <a:gd name="connsiteX223" fmla="*/ 2512875 w 3817880"/>
                <a:gd name="connsiteY223" fmla="*/ 58143 h 420659"/>
                <a:gd name="connsiteX224" fmla="*/ 2494771 w 3817880"/>
                <a:gd name="connsiteY224" fmla="*/ 66130 h 420659"/>
                <a:gd name="connsiteX225" fmla="*/ 2477731 w 3817880"/>
                <a:gd name="connsiteY225" fmla="*/ 58143 h 420659"/>
                <a:gd name="connsiteX226" fmla="*/ 2469744 w 3817880"/>
                <a:gd name="connsiteY226" fmla="*/ 41104 h 420659"/>
                <a:gd name="connsiteX227" fmla="*/ 2477731 w 3817880"/>
                <a:gd name="connsiteY227" fmla="*/ 22999 h 420659"/>
                <a:gd name="connsiteX228" fmla="*/ 2494771 w 3817880"/>
                <a:gd name="connsiteY228" fmla="*/ 15012 h 420659"/>
                <a:gd name="connsiteX229" fmla="*/ 2494771 w 3817880"/>
                <a:gd name="connsiteY229" fmla="*/ 15012 h 420659"/>
                <a:gd name="connsiteX230" fmla="*/ 2493706 w 3817880"/>
                <a:gd name="connsiteY230" fmla="*/ 112988 h 420659"/>
                <a:gd name="connsiteX231" fmla="*/ 2510745 w 3817880"/>
                <a:gd name="connsiteY231" fmla="*/ 112988 h 420659"/>
                <a:gd name="connsiteX232" fmla="*/ 2510745 w 3817880"/>
                <a:gd name="connsiteY232" fmla="*/ 299889 h 420659"/>
                <a:gd name="connsiteX233" fmla="*/ 2518732 w 3817880"/>
                <a:gd name="connsiteY233" fmla="*/ 307876 h 420659"/>
                <a:gd name="connsiteX234" fmla="*/ 2542162 w 3817880"/>
                <a:gd name="connsiteY234" fmla="*/ 310006 h 420659"/>
                <a:gd name="connsiteX235" fmla="*/ 2542162 w 3817880"/>
                <a:gd name="connsiteY235" fmla="*/ 325980 h 420659"/>
                <a:gd name="connsiteX236" fmla="*/ 2443120 w 3817880"/>
                <a:gd name="connsiteY236" fmla="*/ 325980 h 420659"/>
                <a:gd name="connsiteX237" fmla="*/ 2443120 w 3817880"/>
                <a:gd name="connsiteY237" fmla="*/ 310006 h 420659"/>
                <a:gd name="connsiteX238" fmla="*/ 2466549 w 3817880"/>
                <a:gd name="connsiteY238" fmla="*/ 307876 h 420659"/>
                <a:gd name="connsiteX239" fmla="*/ 2473472 w 3817880"/>
                <a:gd name="connsiteY239" fmla="*/ 299889 h 420659"/>
                <a:gd name="connsiteX240" fmla="*/ 2473472 w 3817880"/>
                <a:gd name="connsiteY240" fmla="*/ 142275 h 420659"/>
                <a:gd name="connsiteX241" fmla="*/ 2443120 w 3817880"/>
                <a:gd name="connsiteY241" fmla="*/ 142275 h 420659"/>
                <a:gd name="connsiteX242" fmla="*/ 2443120 w 3817880"/>
                <a:gd name="connsiteY242" fmla="*/ 127365 h 420659"/>
                <a:gd name="connsiteX243" fmla="*/ 2493706 w 3817880"/>
                <a:gd name="connsiteY243" fmla="*/ 112988 h 420659"/>
                <a:gd name="connsiteX244" fmla="*/ 2493706 w 3817880"/>
                <a:gd name="connsiteY244" fmla="*/ 112988 h 420659"/>
                <a:gd name="connsiteX245" fmla="*/ 2191790 w 3817880"/>
                <a:gd name="connsiteY245" fmla="*/ 325448 h 420659"/>
                <a:gd name="connsiteX246" fmla="*/ 2191790 w 3817880"/>
                <a:gd name="connsiteY246" fmla="*/ 309473 h 420659"/>
                <a:gd name="connsiteX247" fmla="*/ 2215219 w 3817880"/>
                <a:gd name="connsiteY247" fmla="*/ 307343 h 420659"/>
                <a:gd name="connsiteX248" fmla="*/ 2223206 w 3817880"/>
                <a:gd name="connsiteY248" fmla="*/ 299356 h 420659"/>
                <a:gd name="connsiteX249" fmla="*/ 2223206 w 3817880"/>
                <a:gd name="connsiteY249" fmla="*/ 141742 h 420659"/>
                <a:gd name="connsiteX250" fmla="*/ 2191790 w 3817880"/>
                <a:gd name="connsiteY250" fmla="*/ 141742 h 420659"/>
                <a:gd name="connsiteX251" fmla="*/ 2191790 w 3817880"/>
                <a:gd name="connsiteY251" fmla="*/ 127365 h 420659"/>
                <a:gd name="connsiteX252" fmla="*/ 2242376 w 3817880"/>
                <a:gd name="connsiteY252" fmla="*/ 112456 h 420659"/>
                <a:gd name="connsiteX253" fmla="*/ 2259415 w 3817880"/>
                <a:gd name="connsiteY253" fmla="*/ 112456 h 420659"/>
                <a:gd name="connsiteX254" fmla="*/ 2259415 w 3817880"/>
                <a:gd name="connsiteY254" fmla="*/ 135885 h 420659"/>
                <a:gd name="connsiteX255" fmla="*/ 2302013 w 3817880"/>
                <a:gd name="connsiteY255" fmla="*/ 115651 h 420659"/>
                <a:gd name="connsiteX256" fmla="*/ 2330235 w 3817880"/>
                <a:gd name="connsiteY256" fmla="*/ 108729 h 420659"/>
                <a:gd name="connsiteX257" fmla="*/ 2373898 w 3817880"/>
                <a:gd name="connsiteY257" fmla="*/ 126833 h 420659"/>
                <a:gd name="connsiteX258" fmla="*/ 2388275 w 3817880"/>
                <a:gd name="connsiteY258" fmla="*/ 176354 h 420659"/>
                <a:gd name="connsiteX259" fmla="*/ 2388275 w 3817880"/>
                <a:gd name="connsiteY259" fmla="*/ 298824 h 420659"/>
                <a:gd name="connsiteX260" fmla="*/ 2396262 w 3817880"/>
                <a:gd name="connsiteY260" fmla="*/ 306811 h 420659"/>
                <a:gd name="connsiteX261" fmla="*/ 2419691 w 3817880"/>
                <a:gd name="connsiteY261" fmla="*/ 308941 h 420659"/>
                <a:gd name="connsiteX262" fmla="*/ 2419691 w 3817880"/>
                <a:gd name="connsiteY262" fmla="*/ 324915 h 420659"/>
                <a:gd name="connsiteX263" fmla="*/ 2323845 w 3817880"/>
                <a:gd name="connsiteY263" fmla="*/ 324915 h 420659"/>
                <a:gd name="connsiteX264" fmla="*/ 2323845 w 3817880"/>
                <a:gd name="connsiteY264" fmla="*/ 308941 h 420659"/>
                <a:gd name="connsiteX265" fmla="*/ 2344079 w 3817880"/>
                <a:gd name="connsiteY265" fmla="*/ 306811 h 420659"/>
                <a:gd name="connsiteX266" fmla="*/ 2352066 w 3817880"/>
                <a:gd name="connsiteY266" fmla="*/ 298824 h 420659"/>
                <a:gd name="connsiteX267" fmla="*/ 2352066 w 3817880"/>
                <a:gd name="connsiteY267" fmla="*/ 182743 h 420659"/>
                <a:gd name="connsiteX268" fmla="*/ 2341949 w 3817880"/>
                <a:gd name="connsiteY268" fmla="*/ 147599 h 420659"/>
                <a:gd name="connsiteX269" fmla="*/ 2308403 w 3817880"/>
                <a:gd name="connsiteY269" fmla="*/ 137482 h 420659"/>
                <a:gd name="connsiteX270" fmla="*/ 2284974 w 3817880"/>
                <a:gd name="connsiteY270" fmla="*/ 140677 h 420659"/>
                <a:gd name="connsiteX271" fmla="*/ 2258882 w 3817880"/>
                <a:gd name="connsiteY271" fmla="*/ 151859 h 420659"/>
                <a:gd name="connsiteX272" fmla="*/ 2258882 w 3817880"/>
                <a:gd name="connsiteY272" fmla="*/ 298291 h 420659"/>
                <a:gd name="connsiteX273" fmla="*/ 2266870 w 3817880"/>
                <a:gd name="connsiteY273" fmla="*/ 306279 h 420659"/>
                <a:gd name="connsiteX274" fmla="*/ 2287104 w 3817880"/>
                <a:gd name="connsiteY274" fmla="*/ 308408 h 420659"/>
                <a:gd name="connsiteX275" fmla="*/ 2287104 w 3817880"/>
                <a:gd name="connsiteY275" fmla="*/ 324383 h 420659"/>
                <a:gd name="connsiteX276" fmla="*/ 2191790 w 3817880"/>
                <a:gd name="connsiteY276" fmla="*/ 324383 h 420659"/>
                <a:gd name="connsiteX277" fmla="*/ 2191790 w 3817880"/>
                <a:gd name="connsiteY277" fmla="*/ 325448 h 420659"/>
                <a:gd name="connsiteX278" fmla="*/ 1885614 w 3817880"/>
                <a:gd name="connsiteY278" fmla="*/ 31519 h 420659"/>
                <a:gd name="connsiteX279" fmla="*/ 1992642 w 3817880"/>
                <a:gd name="connsiteY279" fmla="*/ 31519 h 420659"/>
                <a:gd name="connsiteX280" fmla="*/ 1992642 w 3817880"/>
                <a:gd name="connsiteY280" fmla="*/ 48558 h 420659"/>
                <a:gd name="connsiteX281" fmla="*/ 1965486 w 3817880"/>
                <a:gd name="connsiteY281" fmla="*/ 50688 h 420659"/>
                <a:gd name="connsiteX282" fmla="*/ 1958563 w 3817880"/>
                <a:gd name="connsiteY282" fmla="*/ 57610 h 420659"/>
                <a:gd name="connsiteX283" fmla="*/ 1958563 w 3817880"/>
                <a:gd name="connsiteY283" fmla="*/ 216289 h 420659"/>
                <a:gd name="connsiteX284" fmla="*/ 1976668 w 3817880"/>
                <a:gd name="connsiteY284" fmla="*/ 282849 h 420659"/>
                <a:gd name="connsiteX285" fmla="*/ 2036306 w 3817880"/>
                <a:gd name="connsiteY285" fmla="*/ 303084 h 420659"/>
                <a:gd name="connsiteX286" fmla="*/ 2095944 w 3817880"/>
                <a:gd name="connsiteY286" fmla="*/ 282849 h 420659"/>
                <a:gd name="connsiteX287" fmla="*/ 2114048 w 3817880"/>
                <a:gd name="connsiteY287" fmla="*/ 216289 h 420659"/>
                <a:gd name="connsiteX288" fmla="*/ 2114048 w 3817880"/>
                <a:gd name="connsiteY288" fmla="*/ 60805 h 420659"/>
                <a:gd name="connsiteX289" fmla="*/ 2106061 w 3817880"/>
                <a:gd name="connsiteY289" fmla="*/ 52818 h 420659"/>
                <a:gd name="connsiteX290" fmla="*/ 2078904 w 3817880"/>
                <a:gd name="connsiteY290" fmla="*/ 48558 h 420659"/>
                <a:gd name="connsiteX291" fmla="*/ 2078904 w 3817880"/>
                <a:gd name="connsiteY291" fmla="*/ 31519 h 420659"/>
                <a:gd name="connsiteX292" fmla="*/ 2172088 w 3817880"/>
                <a:gd name="connsiteY292" fmla="*/ 31519 h 420659"/>
                <a:gd name="connsiteX293" fmla="*/ 2172088 w 3817880"/>
                <a:gd name="connsiteY293" fmla="*/ 48558 h 420659"/>
                <a:gd name="connsiteX294" fmla="*/ 2144932 w 3817880"/>
                <a:gd name="connsiteY294" fmla="*/ 52818 h 420659"/>
                <a:gd name="connsiteX295" fmla="*/ 2136944 w 3817880"/>
                <a:gd name="connsiteY295" fmla="*/ 60805 h 420659"/>
                <a:gd name="connsiteX296" fmla="*/ 2136944 w 3817880"/>
                <a:gd name="connsiteY296" fmla="*/ 219484 h 420659"/>
                <a:gd name="connsiteX297" fmla="*/ 2132685 w 3817880"/>
                <a:gd name="connsiteY297" fmla="*/ 267940 h 420659"/>
                <a:gd name="connsiteX298" fmla="*/ 2118308 w 3817880"/>
                <a:gd name="connsiteY298" fmla="*/ 297226 h 420659"/>
                <a:gd name="connsiteX299" fmla="*/ 2081034 w 3817880"/>
                <a:gd name="connsiteY299" fmla="*/ 320655 h 420659"/>
                <a:gd name="connsiteX300" fmla="*/ 2028319 w 3817880"/>
                <a:gd name="connsiteY300" fmla="*/ 329708 h 420659"/>
                <a:gd name="connsiteX301" fmla="*/ 1974538 w 3817880"/>
                <a:gd name="connsiteY301" fmla="*/ 320655 h 420659"/>
                <a:gd name="connsiteX302" fmla="*/ 1937264 w 3817880"/>
                <a:gd name="connsiteY302" fmla="*/ 297226 h 420659"/>
                <a:gd name="connsiteX303" fmla="*/ 1922888 w 3817880"/>
                <a:gd name="connsiteY303" fmla="*/ 267940 h 420659"/>
                <a:gd name="connsiteX304" fmla="*/ 1918627 w 3817880"/>
                <a:gd name="connsiteY304" fmla="*/ 219484 h 420659"/>
                <a:gd name="connsiteX305" fmla="*/ 1918627 w 3817880"/>
                <a:gd name="connsiteY305" fmla="*/ 57610 h 420659"/>
                <a:gd name="connsiteX306" fmla="*/ 1910640 w 3817880"/>
                <a:gd name="connsiteY306" fmla="*/ 50688 h 420659"/>
                <a:gd name="connsiteX307" fmla="*/ 1885614 w 3817880"/>
                <a:gd name="connsiteY307" fmla="*/ 48558 h 420659"/>
                <a:gd name="connsiteX308" fmla="*/ 1885614 w 3817880"/>
                <a:gd name="connsiteY308" fmla="*/ 31519 h 420659"/>
                <a:gd name="connsiteX309" fmla="*/ 1632686 w 3817880"/>
                <a:gd name="connsiteY309" fmla="*/ 110326 h 420659"/>
                <a:gd name="connsiteX310" fmla="*/ 1632686 w 3817880"/>
                <a:gd name="connsiteY310" fmla="*/ 129495 h 420659"/>
                <a:gd name="connsiteX311" fmla="*/ 1621504 w 3817880"/>
                <a:gd name="connsiteY311" fmla="*/ 130560 h 420659"/>
                <a:gd name="connsiteX312" fmla="*/ 1604464 w 3817880"/>
                <a:gd name="connsiteY312" fmla="*/ 136418 h 420659"/>
                <a:gd name="connsiteX313" fmla="*/ 1604464 w 3817880"/>
                <a:gd name="connsiteY313" fmla="*/ 173691 h 420659"/>
                <a:gd name="connsiteX314" fmla="*/ 1574113 w 3817880"/>
                <a:gd name="connsiteY314" fmla="*/ 173691 h 420659"/>
                <a:gd name="connsiteX315" fmla="*/ 1562931 w 3817880"/>
                <a:gd name="connsiteY315" fmla="*/ 170496 h 420659"/>
                <a:gd name="connsiteX316" fmla="*/ 1560801 w 3817880"/>
                <a:gd name="connsiteY316" fmla="*/ 160379 h 420659"/>
                <a:gd name="connsiteX317" fmla="*/ 1584230 w 3817880"/>
                <a:gd name="connsiteY317" fmla="*/ 124170 h 420659"/>
                <a:gd name="connsiteX318" fmla="*/ 1632686 w 3817880"/>
                <a:gd name="connsiteY318" fmla="*/ 110326 h 420659"/>
                <a:gd name="connsiteX319" fmla="*/ 1632686 w 3817880"/>
                <a:gd name="connsiteY319" fmla="*/ 110326 h 420659"/>
                <a:gd name="connsiteX320" fmla="*/ 1632686 w 3817880"/>
                <a:gd name="connsiteY320" fmla="*/ 204042 h 420659"/>
                <a:gd name="connsiteX321" fmla="*/ 1632686 w 3817880"/>
                <a:gd name="connsiteY321" fmla="*/ 222147 h 420659"/>
                <a:gd name="connsiteX322" fmla="*/ 1605529 w 3817880"/>
                <a:gd name="connsiteY322" fmla="*/ 235459 h 420659"/>
                <a:gd name="connsiteX323" fmla="*/ 1587425 w 3817880"/>
                <a:gd name="connsiteY323" fmla="*/ 269005 h 420659"/>
                <a:gd name="connsiteX324" fmla="*/ 1597542 w 3817880"/>
                <a:gd name="connsiteY324" fmla="*/ 295096 h 420659"/>
                <a:gd name="connsiteX325" fmla="*/ 1623634 w 3817880"/>
                <a:gd name="connsiteY325" fmla="*/ 304149 h 420659"/>
                <a:gd name="connsiteX326" fmla="*/ 1632686 w 3817880"/>
                <a:gd name="connsiteY326" fmla="*/ 304149 h 420659"/>
                <a:gd name="connsiteX327" fmla="*/ 1632686 w 3817880"/>
                <a:gd name="connsiteY327" fmla="*/ 323318 h 420659"/>
                <a:gd name="connsiteX328" fmla="*/ 1605529 w 3817880"/>
                <a:gd name="connsiteY328" fmla="*/ 327578 h 420659"/>
                <a:gd name="connsiteX329" fmla="*/ 1565061 w 3817880"/>
                <a:gd name="connsiteY329" fmla="*/ 313201 h 420659"/>
                <a:gd name="connsiteX330" fmla="*/ 1549087 w 3817880"/>
                <a:gd name="connsiteY330" fmla="*/ 272732 h 420659"/>
                <a:gd name="connsiteX331" fmla="*/ 1572516 w 3817880"/>
                <a:gd name="connsiteY331" fmla="*/ 227471 h 420659"/>
                <a:gd name="connsiteX332" fmla="*/ 1632686 w 3817880"/>
                <a:gd name="connsiteY332" fmla="*/ 204042 h 420659"/>
                <a:gd name="connsiteX333" fmla="*/ 1632686 w 3817880"/>
                <a:gd name="connsiteY333" fmla="*/ 204042 h 420659"/>
                <a:gd name="connsiteX334" fmla="*/ 913306 w 3817880"/>
                <a:gd name="connsiteY334" fmla="*/ 420229 h 420659"/>
                <a:gd name="connsiteX335" fmla="*/ 913306 w 3817880"/>
                <a:gd name="connsiteY335" fmla="*/ 401060 h 420659"/>
                <a:gd name="connsiteX336" fmla="*/ 917565 w 3817880"/>
                <a:gd name="connsiteY336" fmla="*/ 401060 h 420659"/>
                <a:gd name="connsiteX337" fmla="*/ 963891 w 3817880"/>
                <a:gd name="connsiteY337" fmla="*/ 387748 h 420659"/>
                <a:gd name="connsiteX338" fmla="*/ 983061 w 3817880"/>
                <a:gd name="connsiteY338" fmla="*/ 354202 h 420659"/>
                <a:gd name="connsiteX339" fmla="*/ 975073 w 3817880"/>
                <a:gd name="connsiteY339" fmla="*/ 332903 h 420659"/>
                <a:gd name="connsiteX340" fmla="*/ 937800 w 3817880"/>
                <a:gd name="connsiteY340" fmla="*/ 320655 h 420659"/>
                <a:gd name="connsiteX341" fmla="*/ 912773 w 3817880"/>
                <a:gd name="connsiteY341" fmla="*/ 316396 h 420659"/>
                <a:gd name="connsiteX342" fmla="*/ 912773 w 3817880"/>
                <a:gd name="connsiteY342" fmla="*/ 284979 h 420659"/>
                <a:gd name="connsiteX343" fmla="*/ 940995 w 3817880"/>
                <a:gd name="connsiteY343" fmla="*/ 289239 h 420659"/>
                <a:gd name="connsiteX344" fmla="*/ 998502 w 3817880"/>
                <a:gd name="connsiteY344" fmla="*/ 308408 h 420659"/>
                <a:gd name="connsiteX345" fmla="*/ 1015542 w 3817880"/>
                <a:gd name="connsiteY345" fmla="*/ 343552 h 420659"/>
                <a:gd name="connsiteX346" fmla="*/ 1008620 w 3817880"/>
                <a:gd name="connsiteY346" fmla="*/ 369644 h 420659"/>
                <a:gd name="connsiteX347" fmla="*/ 988385 w 3817880"/>
                <a:gd name="connsiteY347" fmla="*/ 393073 h 420659"/>
                <a:gd name="connsiteX348" fmla="*/ 948982 w 3817880"/>
                <a:gd name="connsiteY348" fmla="*/ 414372 h 420659"/>
                <a:gd name="connsiteX349" fmla="*/ 913306 w 3817880"/>
                <a:gd name="connsiteY349" fmla="*/ 420229 h 420659"/>
                <a:gd name="connsiteX350" fmla="*/ 913306 w 3817880"/>
                <a:gd name="connsiteY350" fmla="*/ 420229 h 420659"/>
                <a:gd name="connsiteX351" fmla="*/ 913306 w 3817880"/>
                <a:gd name="connsiteY351" fmla="*/ 252498 h 420659"/>
                <a:gd name="connsiteX352" fmla="*/ 913306 w 3817880"/>
                <a:gd name="connsiteY352" fmla="*/ 234394 h 420659"/>
                <a:gd name="connsiteX353" fmla="*/ 913306 w 3817880"/>
                <a:gd name="connsiteY353" fmla="*/ 234394 h 420659"/>
                <a:gd name="connsiteX354" fmla="*/ 944722 w 3817880"/>
                <a:gd name="connsiteY354" fmla="*/ 219484 h 420659"/>
                <a:gd name="connsiteX355" fmla="*/ 955904 w 3817880"/>
                <a:gd name="connsiteY355" fmla="*/ 181146 h 420659"/>
                <a:gd name="connsiteX356" fmla="*/ 944722 w 3817880"/>
                <a:gd name="connsiteY356" fmla="*/ 141742 h 420659"/>
                <a:gd name="connsiteX357" fmla="*/ 913306 w 3817880"/>
                <a:gd name="connsiteY357" fmla="*/ 127365 h 420659"/>
                <a:gd name="connsiteX358" fmla="*/ 913306 w 3817880"/>
                <a:gd name="connsiteY358" fmla="*/ 127365 h 420659"/>
                <a:gd name="connsiteX359" fmla="*/ 913306 w 3817880"/>
                <a:gd name="connsiteY359" fmla="*/ 110326 h 420659"/>
                <a:gd name="connsiteX360" fmla="*/ 917565 w 3817880"/>
                <a:gd name="connsiteY360" fmla="*/ 109261 h 420659"/>
                <a:gd name="connsiteX361" fmla="*/ 942592 w 3817880"/>
                <a:gd name="connsiteY361" fmla="*/ 112456 h 420659"/>
                <a:gd name="connsiteX362" fmla="*/ 967619 w 3817880"/>
                <a:gd name="connsiteY362" fmla="*/ 122573 h 420659"/>
                <a:gd name="connsiteX363" fmla="*/ 1030451 w 3817880"/>
                <a:gd name="connsiteY363" fmla="*/ 122573 h 420659"/>
                <a:gd name="connsiteX364" fmla="*/ 1030451 w 3817880"/>
                <a:gd name="connsiteY364" fmla="*/ 142807 h 420659"/>
                <a:gd name="connsiteX365" fmla="*/ 981996 w 3817880"/>
                <a:gd name="connsiteY365" fmla="*/ 142807 h 420659"/>
                <a:gd name="connsiteX366" fmla="*/ 991048 w 3817880"/>
                <a:gd name="connsiteY366" fmla="*/ 161976 h 420659"/>
                <a:gd name="connsiteX367" fmla="*/ 994243 w 3817880"/>
                <a:gd name="connsiteY367" fmla="*/ 183276 h 420659"/>
                <a:gd name="connsiteX368" fmla="*/ 970813 w 3817880"/>
                <a:gd name="connsiteY368" fmla="*/ 232796 h 420659"/>
                <a:gd name="connsiteX369" fmla="*/ 913306 w 3817880"/>
                <a:gd name="connsiteY369" fmla="*/ 252498 h 420659"/>
                <a:gd name="connsiteX370" fmla="*/ 913306 w 3817880"/>
                <a:gd name="connsiteY370" fmla="*/ 252498 h 420659"/>
                <a:gd name="connsiteX371" fmla="*/ 1344082 w 3817880"/>
                <a:gd name="connsiteY371" fmla="*/ 109261 h 420659"/>
                <a:gd name="connsiteX372" fmla="*/ 1361121 w 3817880"/>
                <a:gd name="connsiteY372" fmla="*/ 109261 h 420659"/>
                <a:gd name="connsiteX373" fmla="*/ 1361121 w 3817880"/>
                <a:gd name="connsiteY373" fmla="*/ 254628 h 420659"/>
                <a:gd name="connsiteX374" fmla="*/ 1371238 w 3817880"/>
                <a:gd name="connsiteY374" fmla="*/ 290837 h 420659"/>
                <a:gd name="connsiteX375" fmla="*/ 1402655 w 3817880"/>
                <a:gd name="connsiteY375" fmla="*/ 302019 h 420659"/>
                <a:gd name="connsiteX376" fmla="*/ 1427681 w 3817880"/>
                <a:gd name="connsiteY376" fmla="*/ 298824 h 420659"/>
                <a:gd name="connsiteX377" fmla="*/ 1453773 w 3817880"/>
                <a:gd name="connsiteY377" fmla="*/ 288707 h 420659"/>
                <a:gd name="connsiteX378" fmla="*/ 1453773 w 3817880"/>
                <a:gd name="connsiteY378" fmla="*/ 140145 h 420659"/>
                <a:gd name="connsiteX379" fmla="*/ 1422889 w 3817880"/>
                <a:gd name="connsiteY379" fmla="*/ 140145 h 420659"/>
                <a:gd name="connsiteX380" fmla="*/ 1422889 w 3817880"/>
                <a:gd name="connsiteY380" fmla="*/ 126833 h 420659"/>
                <a:gd name="connsiteX381" fmla="*/ 1473474 w 3817880"/>
                <a:gd name="connsiteY381" fmla="*/ 109794 h 420659"/>
                <a:gd name="connsiteX382" fmla="*/ 1490514 w 3817880"/>
                <a:gd name="connsiteY382" fmla="*/ 109794 h 420659"/>
                <a:gd name="connsiteX383" fmla="*/ 1490514 w 3817880"/>
                <a:gd name="connsiteY383" fmla="*/ 299889 h 420659"/>
                <a:gd name="connsiteX384" fmla="*/ 1498501 w 3817880"/>
                <a:gd name="connsiteY384" fmla="*/ 307876 h 420659"/>
                <a:gd name="connsiteX385" fmla="*/ 1518735 w 3817880"/>
                <a:gd name="connsiteY385" fmla="*/ 310006 h 420659"/>
                <a:gd name="connsiteX386" fmla="*/ 1518735 w 3817880"/>
                <a:gd name="connsiteY386" fmla="*/ 325980 h 420659"/>
                <a:gd name="connsiteX387" fmla="*/ 1453240 w 3817880"/>
                <a:gd name="connsiteY387" fmla="*/ 325980 h 420659"/>
                <a:gd name="connsiteX388" fmla="*/ 1453240 w 3817880"/>
                <a:gd name="connsiteY388" fmla="*/ 300954 h 420659"/>
                <a:gd name="connsiteX389" fmla="*/ 1415967 w 3817880"/>
                <a:gd name="connsiteY389" fmla="*/ 322253 h 420659"/>
                <a:gd name="connsiteX390" fmla="*/ 1382421 w 3817880"/>
                <a:gd name="connsiteY390" fmla="*/ 329175 h 420659"/>
                <a:gd name="connsiteX391" fmla="*/ 1339822 w 3817880"/>
                <a:gd name="connsiteY391" fmla="*/ 312136 h 420659"/>
                <a:gd name="connsiteX392" fmla="*/ 1323848 w 3817880"/>
                <a:gd name="connsiteY392" fmla="*/ 262615 h 420659"/>
                <a:gd name="connsiteX393" fmla="*/ 1323848 w 3817880"/>
                <a:gd name="connsiteY393" fmla="*/ 140145 h 420659"/>
                <a:gd name="connsiteX394" fmla="*/ 1292431 w 3817880"/>
                <a:gd name="connsiteY394" fmla="*/ 140145 h 420659"/>
                <a:gd name="connsiteX395" fmla="*/ 1292431 w 3817880"/>
                <a:gd name="connsiteY395" fmla="*/ 126833 h 420659"/>
                <a:gd name="connsiteX396" fmla="*/ 1344082 w 3817880"/>
                <a:gd name="connsiteY396" fmla="*/ 109261 h 420659"/>
                <a:gd name="connsiteX397" fmla="*/ 1344082 w 3817880"/>
                <a:gd name="connsiteY397" fmla="*/ 109261 h 420659"/>
                <a:gd name="connsiteX398" fmla="*/ 1096479 w 3817880"/>
                <a:gd name="connsiteY398" fmla="*/ 2233 h 420659"/>
                <a:gd name="connsiteX399" fmla="*/ 1113518 w 3817880"/>
                <a:gd name="connsiteY399" fmla="*/ 2233 h 420659"/>
                <a:gd name="connsiteX400" fmla="*/ 1113518 w 3817880"/>
                <a:gd name="connsiteY400" fmla="*/ 136418 h 420659"/>
                <a:gd name="connsiteX401" fmla="*/ 1155052 w 3817880"/>
                <a:gd name="connsiteY401" fmla="*/ 116183 h 420659"/>
                <a:gd name="connsiteX402" fmla="*/ 1184338 w 3817880"/>
                <a:gd name="connsiteY402" fmla="*/ 109261 h 420659"/>
                <a:gd name="connsiteX403" fmla="*/ 1228001 w 3817880"/>
                <a:gd name="connsiteY403" fmla="*/ 127365 h 420659"/>
                <a:gd name="connsiteX404" fmla="*/ 1242911 w 3817880"/>
                <a:gd name="connsiteY404" fmla="*/ 176886 h 420659"/>
                <a:gd name="connsiteX405" fmla="*/ 1242911 w 3817880"/>
                <a:gd name="connsiteY405" fmla="*/ 299356 h 420659"/>
                <a:gd name="connsiteX406" fmla="*/ 1250898 w 3817880"/>
                <a:gd name="connsiteY406" fmla="*/ 307343 h 420659"/>
                <a:gd name="connsiteX407" fmla="*/ 1273262 w 3817880"/>
                <a:gd name="connsiteY407" fmla="*/ 309473 h 420659"/>
                <a:gd name="connsiteX408" fmla="*/ 1273262 w 3817880"/>
                <a:gd name="connsiteY408" fmla="*/ 325448 h 420659"/>
                <a:gd name="connsiteX409" fmla="*/ 1178480 w 3817880"/>
                <a:gd name="connsiteY409" fmla="*/ 325448 h 420659"/>
                <a:gd name="connsiteX410" fmla="*/ 1178480 w 3817880"/>
                <a:gd name="connsiteY410" fmla="*/ 309473 h 420659"/>
                <a:gd name="connsiteX411" fmla="*/ 1198715 w 3817880"/>
                <a:gd name="connsiteY411" fmla="*/ 307343 h 420659"/>
                <a:gd name="connsiteX412" fmla="*/ 1205637 w 3817880"/>
                <a:gd name="connsiteY412" fmla="*/ 299356 h 420659"/>
                <a:gd name="connsiteX413" fmla="*/ 1205637 w 3817880"/>
                <a:gd name="connsiteY413" fmla="*/ 183276 h 420659"/>
                <a:gd name="connsiteX414" fmla="*/ 1195520 w 3817880"/>
                <a:gd name="connsiteY414" fmla="*/ 148132 h 420659"/>
                <a:gd name="connsiteX415" fmla="*/ 1161974 w 3817880"/>
                <a:gd name="connsiteY415" fmla="*/ 138015 h 420659"/>
                <a:gd name="connsiteX416" fmla="*/ 1139610 w 3817880"/>
                <a:gd name="connsiteY416" fmla="*/ 141210 h 420659"/>
                <a:gd name="connsiteX417" fmla="*/ 1113518 w 3817880"/>
                <a:gd name="connsiteY417" fmla="*/ 152392 h 420659"/>
                <a:gd name="connsiteX418" fmla="*/ 1113518 w 3817880"/>
                <a:gd name="connsiteY418" fmla="*/ 298824 h 420659"/>
                <a:gd name="connsiteX419" fmla="*/ 1121505 w 3817880"/>
                <a:gd name="connsiteY419" fmla="*/ 306811 h 420659"/>
                <a:gd name="connsiteX420" fmla="*/ 1141740 w 3817880"/>
                <a:gd name="connsiteY420" fmla="*/ 308941 h 420659"/>
                <a:gd name="connsiteX421" fmla="*/ 1141740 w 3817880"/>
                <a:gd name="connsiteY421" fmla="*/ 324915 h 420659"/>
                <a:gd name="connsiteX422" fmla="*/ 1045893 w 3817880"/>
                <a:gd name="connsiteY422" fmla="*/ 324915 h 420659"/>
                <a:gd name="connsiteX423" fmla="*/ 1045893 w 3817880"/>
                <a:gd name="connsiteY423" fmla="*/ 308941 h 420659"/>
                <a:gd name="connsiteX424" fmla="*/ 1069322 w 3817880"/>
                <a:gd name="connsiteY424" fmla="*/ 306811 h 420659"/>
                <a:gd name="connsiteX425" fmla="*/ 1076245 w 3817880"/>
                <a:gd name="connsiteY425" fmla="*/ 298824 h 420659"/>
                <a:gd name="connsiteX426" fmla="*/ 1076245 w 3817880"/>
                <a:gd name="connsiteY426" fmla="*/ 31519 h 420659"/>
                <a:gd name="connsiteX427" fmla="*/ 1042698 w 3817880"/>
                <a:gd name="connsiteY427" fmla="*/ 31519 h 420659"/>
                <a:gd name="connsiteX428" fmla="*/ 1042698 w 3817880"/>
                <a:gd name="connsiteY428" fmla="*/ 18207 h 420659"/>
                <a:gd name="connsiteX429" fmla="*/ 1096479 w 3817880"/>
                <a:gd name="connsiteY429" fmla="*/ 2233 h 420659"/>
                <a:gd name="connsiteX430" fmla="*/ 913306 w 3817880"/>
                <a:gd name="connsiteY430" fmla="*/ 110326 h 420659"/>
                <a:gd name="connsiteX431" fmla="*/ 913306 w 3817880"/>
                <a:gd name="connsiteY431" fmla="*/ 127365 h 420659"/>
                <a:gd name="connsiteX432" fmla="*/ 881889 w 3817880"/>
                <a:gd name="connsiteY432" fmla="*/ 141742 h 420659"/>
                <a:gd name="connsiteX433" fmla="*/ 870707 w 3817880"/>
                <a:gd name="connsiteY433" fmla="*/ 181146 h 420659"/>
                <a:gd name="connsiteX434" fmla="*/ 882954 w 3817880"/>
                <a:gd name="connsiteY434" fmla="*/ 219484 h 420659"/>
                <a:gd name="connsiteX435" fmla="*/ 913306 w 3817880"/>
                <a:gd name="connsiteY435" fmla="*/ 234394 h 420659"/>
                <a:gd name="connsiteX436" fmla="*/ 913306 w 3817880"/>
                <a:gd name="connsiteY436" fmla="*/ 252498 h 420659"/>
                <a:gd name="connsiteX437" fmla="*/ 910111 w 3817880"/>
                <a:gd name="connsiteY437" fmla="*/ 252498 h 420659"/>
                <a:gd name="connsiteX438" fmla="*/ 903189 w 3817880"/>
                <a:gd name="connsiteY438" fmla="*/ 252498 h 420659"/>
                <a:gd name="connsiteX439" fmla="*/ 898929 w 3817880"/>
                <a:gd name="connsiteY439" fmla="*/ 261550 h 420659"/>
                <a:gd name="connsiteX440" fmla="*/ 897864 w 3817880"/>
                <a:gd name="connsiteY440" fmla="*/ 271667 h 420659"/>
                <a:gd name="connsiteX441" fmla="*/ 898929 w 3817880"/>
                <a:gd name="connsiteY441" fmla="*/ 278590 h 420659"/>
                <a:gd name="connsiteX442" fmla="*/ 898929 w 3817880"/>
                <a:gd name="connsiteY442" fmla="*/ 281784 h 420659"/>
                <a:gd name="connsiteX443" fmla="*/ 913838 w 3817880"/>
                <a:gd name="connsiteY443" fmla="*/ 283914 h 420659"/>
                <a:gd name="connsiteX444" fmla="*/ 913838 w 3817880"/>
                <a:gd name="connsiteY444" fmla="*/ 315331 h 420659"/>
                <a:gd name="connsiteX445" fmla="*/ 896799 w 3817880"/>
                <a:gd name="connsiteY445" fmla="*/ 312136 h 420659"/>
                <a:gd name="connsiteX446" fmla="*/ 868577 w 3817880"/>
                <a:gd name="connsiteY446" fmla="*/ 329175 h 420659"/>
                <a:gd name="connsiteX447" fmla="*/ 858460 w 3817880"/>
                <a:gd name="connsiteY447" fmla="*/ 355267 h 420659"/>
                <a:gd name="connsiteX448" fmla="*/ 875500 w 3817880"/>
                <a:gd name="connsiteY448" fmla="*/ 387748 h 420659"/>
                <a:gd name="connsiteX449" fmla="*/ 913838 w 3817880"/>
                <a:gd name="connsiteY449" fmla="*/ 401060 h 420659"/>
                <a:gd name="connsiteX450" fmla="*/ 913838 w 3817880"/>
                <a:gd name="connsiteY450" fmla="*/ 420229 h 420659"/>
                <a:gd name="connsiteX451" fmla="*/ 902656 w 3817880"/>
                <a:gd name="connsiteY451" fmla="*/ 420229 h 420659"/>
                <a:gd name="connsiteX452" fmla="*/ 845148 w 3817880"/>
                <a:gd name="connsiteY452" fmla="*/ 405852 h 420659"/>
                <a:gd name="connsiteX453" fmla="*/ 823849 w 3817880"/>
                <a:gd name="connsiteY453" fmla="*/ 364319 h 420659"/>
                <a:gd name="connsiteX454" fmla="*/ 836096 w 3817880"/>
                <a:gd name="connsiteY454" fmla="*/ 329175 h 420659"/>
                <a:gd name="connsiteX455" fmla="*/ 871240 w 3817880"/>
                <a:gd name="connsiteY455" fmla="*/ 310006 h 420659"/>
                <a:gd name="connsiteX456" fmla="*/ 868045 w 3817880"/>
                <a:gd name="connsiteY456" fmla="*/ 299889 h 420659"/>
                <a:gd name="connsiteX457" fmla="*/ 866980 w 3817880"/>
                <a:gd name="connsiteY457" fmla="*/ 289772 h 420659"/>
                <a:gd name="connsiteX458" fmla="*/ 872837 w 3817880"/>
                <a:gd name="connsiteY458" fmla="*/ 271667 h 420659"/>
                <a:gd name="connsiteX459" fmla="*/ 888812 w 3817880"/>
                <a:gd name="connsiteY459" fmla="*/ 249303 h 420659"/>
                <a:gd name="connsiteX460" fmla="*/ 848343 w 3817880"/>
                <a:gd name="connsiteY460" fmla="*/ 225874 h 420659"/>
                <a:gd name="connsiteX461" fmla="*/ 833966 w 3817880"/>
                <a:gd name="connsiteY461" fmla="*/ 183276 h 420659"/>
                <a:gd name="connsiteX462" fmla="*/ 857395 w 3817880"/>
                <a:gd name="connsiteY462" fmla="*/ 130560 h 420659"/>
                <a:gd name="connsiteX463" fmla="*/ 913306 w 3817880"/>
                <a:gd name="connsiteY463" fmla="*/ 110326 h 420659"/>
                <a:gd name="connsiteX464" fmla="*/ 913306 w 3817880"/>
                <a:gd name="connsiteY464" fmla="*/ 110326 h 420659"/>
                <a:gd name="connsiteX465" fmla="*/ 569856 w 3817880"/>
                <a:gd name="connsiteY465" fmla="*/ 325448 h 420659"/>
                <a:gd name="connsiteX466" fmla="*/ 569856 w 3817880"/>
                <a:gd name="connsiteY466" fmla="*/ 309473 h 420659"/>
                <a:gd name="connsiteX467" fmla="*/ 593285 w 3817880"/>
                <a:gd name="connsiteY467" fmla="*/ 307343 h 420659"/>
                <a:gd name="connsiteX468" fmla="*/ 601272 w 3817880"/>
                <a:gd name="connsiteY468" fmla="*/ 299356 h 420659"/>
                <a:gd name="connsiteX469" fmla="*/ 601272 w 3817880"/>
                <a:gd name="connsiteY469" fmla="*/ 141742 h 420659"/>
                <a:gd name="connsiteX470" fmla="*/ 569856 w 3817880"/>
                <a:gd name="connsiteY470" fmla="*/ 141742 h 420659"/>
                <a:gd name="connsiteX471" fmla="*/ 569856 w 3817880"/>
                <a:gd name="connsiteY471" fmla="*/ 127365 h 420659"/>
                <a:gd name="connsiteX472" fmla="*/ 620442 w 3817880"/>
                <a:gd name="connsiteY472" fmla="*/ 112456 h 420659"/>
                <a:gd name="connsiteX473" fmla="*/ 637481 w 3817880"/>
                <a:gd name="connsiteY473" fmla="*/ 112456 h 420659"/>
                <a:gd name="connsiteX474" fmla="*/ 637481 w 3817880"/>
                <a:gd name="connsiteY474" fmla="*/ 135885 h 420659"/>
                <a:gd name="connsiteX475" fmla="*/ 680079 w 3817880"/>
                <a:gd name="connsiteY475" fmla="*/ 115651 h 420659"/>
                <a:gd name="connsiteX476" fmla="*/ 708301 w 3817880"/>
                <a:gd name="connsiteY476" fmla="*/ 108729 h 420659"/>
                <a:gd name="connsiteX477" fmla="*/ 751964 w 3817880"/>
                <a:gd name="connsiteY477" fmla="*/ 126833 h 420659"/>
                <a:gd name="connsiteX478" fmla="*/ 766341 w 3817880"/>
                <a:gd name="connsiteY478" fmla="*/ 176354 h 420659"/>
                <a:gd name="connsiteX479" fmla="*/ 766341 w 3817880"/>
                <a:gd name="connsiteY479" fmla="*/ 298824 h 420659"/>
                <a:gd name="connsiteX480" fmla="*/ 774328 w 3817880"/>
                <a:gd name="connsiteY480" fmla="*/ 306811 h 420659"/>
                <a:gd name="connsiteX481" fmla="*/ 797757 w 3817880"/>
                <a:gd name="connsiteY481" fmla="*/ 308941 h 420659"/>
                <a:gd name="connsiteX482" fmla="*/ 797757 w 3817880"/>
                <a:gd name="connsiteY482" fmla="*/ 324915 h 420659"/>
                <a:gd name="connsiteX483" fmla="*/ 700846 w 3817880"/>
                <a:gd name="connsiteY483" fmla="*/ 324915 h 420659"/>
                <a:gd name="connsiteX484" fmla="*/ 700846 w 3817880"/>
                <a:gd name="connsiteY484" fmla="*/ 308941 h 420659"/>
                <a:gd name="connsiteX485" fmla="*/ 722145 w 3817880"/>
                <a:gd name="connsiteY485" fmla="*/ 306811 h 420659"/>
                <a:gd name="connsiteX486" fmla="*/ 730133 w 3817880"/>
                <a:gd name="connsiteY486" fmla="*/ 298824 h 420659"/>
                <a:gd name="connsiteX487" fmla="*/ 730133 w 3817880"/>
                <a:gd name="connsiteY487" fmla="*/ 182743 h 420659"/>
                <a:gd name="connsiteX488" fmla="*/ 720015 w 3817880"/>
                <a:gd name="connsiteY488" fmla="*/ 147599 h 420659"/>
                <a:gd name="connsiteX489" fmla="*/ 684872 w 3817880"/>
                <a:gd name="connsiteY489" fmla="*/ 137482 h 420659"/>
                <a:gd name="connsiteX490" fmla="*/ 662508 w 3817880"/>
                <a:gd name="connsiteY490" fmla="*/ 140677 h 420659"/>
                <a:gd name="connsiteX491" fmla="*/ 636416 w 3817880"/>
                <a:gd name="connsiteY491" fmla="*/ 151859 h 420659"/>
                <a:gd name="connsiteX492" fmla="*/ 636416 w 3817880"/>
                <a:gd name="connsiteY492" fmla="*/ 298291 h 420659"/>
                <a:gd name="connsiteX493" fmla="*/ 644403 w 3817880"/>
                <a:gd name="connsiteY493" fmla="*/ 306279 h 420659"/>
                <a:gd name="connsiteX494" fmla="*/ 664637 w 3817880"/>
                <a:gd name="connsiteY494" fmla="*/ 308408 h 420659"/>
                <a:gd name="connsiteX495" fmla="*/ 664637 w 3817880"/>
                <a:gd name="connsiteY495" fmla="*/ 324383 h 420659"/>
                <a:gd name="connsiteX496" fmla="*/ 569856 w 3817880"/>
                <a:gd name="connsiteY496" fmla="*/ 324383 h 420659"/>
                <a:gd name="connsiteX497" fmla="*/ 569856 w 3817880"/>
                <a:gd name="connsiteY497" fmla="*/ 325448 h 420659"/>
                <a:gd name="connsiteX498" fmla="*/ 501166 w 3817880"/>
                <a:gd name="connsiteY498" fmla="*/ 15012 h 420659"/>
                <a:gd name="connsiteX499" fmla="*/ 519270 w 3817880"/>
                <a:gd name="connsiteY499" fmla="*/ 22999 h 420659"/>
                <a:gd name="connsiteX500" fmla="*/ 527258 w 3817880"/>
                <a:gd name="connsiteY500" fmla="*/ 41104 h 420659"/>
                <a:gd name="connsiteX501" fmla="*/ 519270 w 3817880"/>
                <a:gd name="connsiteY501" fmla="*/ 58143 h 420659"/>
                <a:gd name="connsiteX502" fmla="*/ 501166 w 3817880"/>
                <a:gd name="connsiteY502" fmla="*/ 66130 h 420659"/>
                <a:gd name="connsiteX503" fmla="*/ 484127 w 3817880"/>
                <a:gd name="connsiteY503" fmla="*/ 58143 h 420659"/>
                <a:gd name="connsiteX504" fmla="*/ 476140 w 3817880"/>
                <a:gd name="connsiteY504" fmla="*/ 41104 h 420659"/>
                <a:gd name="connsiteX505" fmla="*/ 484127 w 3817880"/>
                <a:gd name="connsiteY505" fmla="*/ 22999 h 420659"/>
                <a:gd name="connsiteX506" fmla="*/ 501166 w 3817880"/>
                <a:gd name="connsiteY506" fmla="*/ 15012 h 420659"/>
                <a:gd name="connsiteX507" fmla="*/ 501166 w 3817880"/>
                <a:gd name="connsiteY507" fmla="*/ 15012 h 420659"/>
                <a:gd name="connsiteX508" fmla="*/ 500101 w 3817880"/>
                <a:gd name="connsiteY508" fmla="*/ 112988 h 420659"/>
                <a:gd name="connsiteX509" fmla="*/ 517141 w 3817880"/>
                <a:gd name="connsiteY509" fmla="*/ 112988 h 420659"/>
                <a:gd name="connsiteX510" fmla="*/ 517141 w 3817880"/>
                <a:gd name="connsiteY510" fmla="*/ 299889 h 420659"/>
                <a:gd name="connsiteX511" fmla="*/ 525128 w 3817880"/>
                <a:gd name="connsiteY511" fmla="*/ 307876 h 420659"/>
                <a:gd name="connsiteX512" fmla="*/ 547492 w 3817880"/>
                <a:gd name="connsiteY512" fmla="*/ 310006 h 420659"/>
                <a:gd name="connsiteX513" fmla="*/ 547492 w 3817880"/>
                <a:gd name="connsiteY513" fmla="*/ 325980 h 420659"/>
                <a:gd name="connsiteX514" fmla="*/ 449516 w 3817880"/>
                <a:gd name="connsiteY514" fmla="*/ 325980 h 420659"/>
                <a:gd name="connsiteX515" fmla="*/ 449516 w 3817880"/>
                <a:gd name="connsiteY515" fmla="*/ 310006 h 420659"/>
                <a:gd name="connsiteX516" fmla="*/ 472945 w 3817880"/>
                <a:gd name="connsiteY516" fmla="*/ 307876 h 420659"/>
                <a:gd name="connsiteX517" fmla="*/ 479867 w 3817880"/>
                <a:gd name="connsiteY517" fmla="*/ 299889 h 420659"/>
                <a:gd name="connsiteX518" fmla="*/ 479867 w 3817880"/>
                <a:gd name="connsiteY518" fmla="*/ 142275 h 420659"/>
                <a:gd name="connsiteX519" fmla="*/ 449516 w 3817880"/>
                <a:gd name="connsiteY519" fmla="*/ 142275 h 420659"/>
                <a:gd name="connsiteX520" fmla="*/ 449516 w 3817880"/>
                <a:gd name="connsiteY520" fmla="*/ 127365 h 420659"/>
                <a:gd name="connsiteX521" fmla="*/ 500101 w 3817880"/>
                <a:gd name="connsiteY521" fmla="*/ 112988 h 420659"/>
                <a:gd name="connsiteX522" fmla="*/ 500101 w 3817880"/>
                <a:gd name="connsiteY522" fmla="*/ 112988 h 420659"/>
                <a:gd name="connsiteX523" fmla="*/ 410112 w 3817880"/>
                <a:gd name="connsiteY523" fmla="*/ 119378 h 420659"/>
                <a:gd name="connsiteX524" fmla="*/ 410112 w 3817880"/>
                <a:gd name="connsiteY524" fmla="*/ 168899 h 420659"/>
                <a:gd name="connsiteX525" fmla="*/ 388813 w 3817880"/>
                <a:gd name="connsiteY525" fmla="*/ 168899 h 420659"/>
                <a:gd name="connsiteX526" fmla="*/ 384553 w 3817880"/>
                <a:gd name="connsiteY526" fmla="*/ 138547 h 420659"/>
                <a:gd name="connsiteX527" fmla="*/ 368579 w 3817880"/>
                <a:gd name="connsiteY527" fmla="*/ 130560 h 420659"/>
                <a:gd name="connsiteX528" fmla="*/ 352604 w 3817880"/>
                <a:gd name="connsiteY528" fmla="*/ 128430 h 420659"/>
                <a:gd name="connsiteX529" fmla="*/ 325448 w 3817880"/>
                <a:gd name="connsiteY529" fmla="*/ 137482 h 420659"/>
                <a:gd name="connsiteX530" fmla="*/ 315331 w 3817880"/>
                <a:gd name="connsiteY530" fmla="*/ 159847 h 420659"/>
                <a:gd name="connsiteX531" fmla="*/ 323318 w 3817880"/>
                <a:gd name="connsiteY531" fmla="*/ 181146 h 420659"/>
                <a:gd name="connsiteX532" fmla="*/ 352604 w 3817880"/>
                <a:gd name="connsiteY532" fmla="*/ 200315 h 420659"/>
                <a:gd name="connsiteX533" fmla="*/ 363786 w 3817880"/>
                <a:gd name="connsiteY533" fmla="*/ 204575 h 420659"/>
                <a:gd name="connsiteX534" fmla="*/ 399995 w 3817880"/>
                <a:gd name="connsiteY534" fmla="*/ 224809 h 420659"/>
                <a:gd name="connsiteX535" fmla="*/ 412242 w 3817880"/>
                <a:gd name="connsiteY535" fmla="*/ 241848 h 420659"/>
                <a:gd name="connsiteX536" fmla="*/ 415437 w 3817880"/>
                <a:gd name="connsiteY536" fmla="*/ 263148 h 420659"/>
                <a:gd name="connsiteX537" fmla="*/ 394138 w 3817880"/>
                <a:gd name="connsiteY537" fmla="*/ 311603 h 420659"/>
                <a:gd name="connsiteX538" fmla="*/ 334500 w 3817880"/>
                <a:gd name="connsiteY538" fmla="*/ 328643 h 420659"/>
                <a:gd name="connsiteX539" fmla="*/ 304149 w 3817880"/>
                <a:gd name="connsiteY539" fmla="*/ 326513 h 420659"/>
                <a:gd name="connsiteX540" fmla="*/ 276992 w 3817880"/>
                <a:gd name="connsiteY540" fmla="*/ 319591 h 420659"/>
                <a:gd name="connsiteX541" fmla="*/ 276992 w 3817880"/>
                <a:gd name="connsiteY541" fmla="*/ 262083 h 420659"/>
                <a:gd name="connsiteX542" fmla="*/ 298291 w 3817880"/>
                <a:gd name="connsiteY542" fmla="*/ 262083 h 420659"/>
                <a:gd name="connsiteX543" fmla="*/ 302551 w 3817880"/>
                <a:gd name="connsiteY543" fmla="*/ 299356 h 420659"/>
                <a:gd name="connsiteX544" fmla="*/ 321720 w 3817880"/>
                <a:gd name="connsiteY544" fmla="*/ 307343 h 420659"/>
                <a:gd name="connsiteX545" fmla="*/ 340890 w 3817880"/>
                <a:gd name="connsiteY545" fmla="*/ 310538 h 420659"/>
                <a:gd name="connsiteX546" fmla="*/ 370176 w 3817880"/>
                <a:gd name="connsiteY546" fmla="*/ 300421 h 420659"/>
                <a:gd name="connsiteX547" fmla="*/ 381358 w 3817880"/>
                <a:gd name="connsiteY547" fmla="*/ 274330 h 420659"/>
                <a:gd name="connsiteX548" fmla="*/ 373371 w 3817880"/>
                <a:gd name="connsiteY548" fmla="*/ 253031 h 420659"/>
                <a:gd name="connsiteX549" fmla="*/ 336097 w 3817880"/>
                <a:gd name="connsiteY549" fmla="*/ 230666 h 420659"/>
                <a:gd name="connsiteX550" fmla="*/ 292434 w 3817880"/>
                <a:gd name="connsiteY550" fmla="*/ 203510 h 420659"/>
                <a:gd name="connsiteX551" fmla="*/ 280187 w 3817880"/>
                <a:gd name="connsiteY551" fmla="*/ 171029 h 420659"/>
                <a:gd name="connsiteX552" fmla="*/ 300421 w 3817880"/>
                <a:gd name="connsiteY552" fmla="*/ 125768 h 420659"/>
                <a:gd name="connsiteX553" fmla="*/ 357929 w 3817880"/>
                <a:gd name="connsiteY553" fmla="*/ 108729 h 420659"/>
                <a:gd name="connsiteX554" fmla="*/ 386150 w 3817880"/>
                <a:gd name="connsiteY554" fmla="*/ 111923 h 420659"/>
                <a:gd name="connsiteX555" fmla="*/ 410112 w 3817880"/>
                <a:gd name="connsiteY555" fmla="*/ 119378 h 420659"/>
                <a:gd name="connsiteX556" fmla="*/ 410112 w 3817880"/>
                <a:gd name="connsiteY556" fmla="*/ 119378 h 420659"/>
                <a:gd name="connsiteX557" fmla="*/ 3297 w 3817880"/>
                <a:gd name="connsiteY557" fmla="*/ 31519 h 420659"/>
                <a:gd name="connsiteX558" fmla="*/ 250901 w 3817880"/>
                <a:gd name="connsiteY558" fmla="*/ 31519 h 420659"/>
                <a:gd name="connsiteX559" fmla="*/ 250901 w 3817880"/>
                <a:gd name="connsiteY559" fmla="*/ 98079 h 420659"/>
                <a:gd name="connsiteX560" fmla="*/ 227471 w 3817880"/>
                <a:gd name="connsiteY560" fmla="*/ 98079 h 420659"/>
                <a:gd name="connsiteX561" fmla="*/ 221614 w 3817880"/>
                <a:gd name="connsiteY561" fmla="*/ 57610 h 420659"/>
                <a:gd name="connsiteX562" fmla="*/ 214692 w 3817880"/>
                <a:gd name="connsiteY562" fmla="*/ 50688 h 420659"/>
                <a:gd name="connsiteX563" fmla="*/ 148132 w 3817880"/>
                <a:gd name="connsiteY563" fmla="*/ 50688 h 420659"/>
                <a:gd name="connsiteX564" fmla="*/ 148132 w 3817880"/>
                <a:gd name="connsiteY564" fmla="*/ 298291 h 420659"/>
                <a:gd name="connsiteX565" fmla="*/ 155054 w 3817880"/>
                <a:gd name="connsiteY565" fmla="*/ 305214 h 420659"/>
                <a:gd name="connsiteX566" fmla="*/ 184341 w 3817880"/>
                <a:gd name="connsiteY566" fmla="*/ 307343 h 420659"/>
                <a:gd name="connsiteX567" fmla="*/ 184341 w 3817880"/>
                <a:gd name="connsiteY567" fmla="*/ 325448 h 420659"/>
                <a:gd name="connsiteX568" fmla="*/ 70390 w 3817880"/>
                <a:gd name="connsiteY568" fmla="*/ 325448 h 420659"/>
                <a:gd name="connsiteX569" fmla="*/ 70390 w 3817880"/>
                <a:gd name="connsiteY569" fmla="*/ 307343 h 420659"/>
                <a:gd name="connsiteX570" fmla="*/ 99676 w 3817880"/>
                <a:gd name="connsiteY570" fmla="*/ 305214 h 420659"/>
                <a:gd name="connsiteX571" fmla="*/ 106598 w 3817880"/>
                <a:gd name="connsiteY571" fmla="*/ 298291 h 420659"/>
                <a:gd name="connsiteX572" fmla="*/ 106598 w 3817880"/>
                <a:gd name="connsiteY572" fmla="*/ 50688 h 420659"/>
                <a:gd name="connsiteX573" fmla="*/ 40039 w 3817880"/>
                <a:gd name="connsiteY573" fmla="*/ 50688 h 420659"/>
                <a:gd name="connsiteX574" fmla="*/ 33116 w 3817880"/>
                <a:gd name="connsiteY574" fmla="*/ 57610 h 420659"/>
                <a:gd name="connsiteX575" fmla="*/ 27259 w 3817880"/>
                <a:gd name="connsiteY575" fmla="*/ 98079 h 420659"/>
                <a:gd name="connsiteX576" fmla="*/ 2233 w 3817880"/>
                <a:gd name="connsiteY576" fmla="*/ 98079 h 420659"/>
                <a:gd name="connsiteX577" fmla="*/ 2233 w 3817880"/>
                <a:gd name="connsiteY577" fmla="*/ 31519 h 42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3817880" h="420659">
                  <a:moveTo>
                    <a:pt x="2873364" y="329175"/>
                  </a:moveTo>
                  <a:lnTo>
                    <a:pt x="2873364" y="302019"/>
                  </a:lnTo>
                  <a:cubicBezTo>
                    <a:pt x="2879221" y="303084"/>
                    <a:pt x="2885611" y="304149"/>
                    <a:pt x="2893598" y="304149"/>
                  </a:cubicBezTo>
                  <a:cubicBezTo>
                    <a:pt x="2903715" y="304149"/>
                    <a:pt x="2914898" y="302019"/>
                    <a:pt x="2926080" y="298291"/>
                  </a:cubicBezTo>
                  <a:cubicBezTo>
                    <a:pt x="2937262" y="294031"/>
                    <a:pt x="2949509" y="287109"/>
                    <a:pt x="2962288" y="278057"/>
                  </a:cubicBezTo>
                  <a:lnTo>
                    <a:pt x="2962288" y="303084"/>
                  </a:lnTo>
                  <a:cubicBezTo>
                    <a:pt x="2950041" y="312136"/>
                    <a:pt x="2936197" y="317993"/>
                    <a:pt x="2921820" y="322253"/>
                  </a:cubicBezTo>
                  <a:cubicBezTo>
                    <a:pt x="2908508" y="326513"/>
                    <a:pt x="2893598" y="329175"/>
                    <a:pt x="2880286" y="329175"/>
                  </a:cubicBezTo>
                  <a:cubicBezTo>
                    <a:pt x="2877624" y="329175"/>
                    <a:pt x="2875494" y="329175"/>
                    <a:pt x="2873364" y="329175"/>
                  </a:cubicBezTo>
                  <a:lnTo>
                    <a:pt x="2873364" y="329175"/>
                  </a:lnTo>
                  <a:close/>
                  <a:moveTo>
                    <a:pt x="2873364" y="209367"/>
                  </a:moveTo>
                  <a:lnTo>
                    <a:pt x="2873364" y="191263"/>
                  </a:lnTo>
                  <a:lnTo>
                    <a:pt x="2922885" y="191263"/>
                  </a:lnTo>
                  <a:lnTo>
                    <a:pt x="2922885" y="184341"/>
                  </a:lnTo>
                  <a:cubicBezTo>
                    <a:pt x="2922885" y="166236"/>
                    <a:pt x="2919690" y="152924"/>
                    <a:pt x="2911703" y="143872"/>
                  </a:cubicBezTo>
                  <a:cubicBezTo>
                    <a:pt x="2903715" y="133755"/>
                    <a:pt x="2892533" y="128963"/>
                    <a:pt x="2878156" y="128963"/>
                  </a:cubicBezTo>
                  <a:cubicBezTo>
                    <a:pt x="2876027" y="128963"/>
                    <a:pt x="2874962" y="128963"/>
                    <a:pt x="2873897" y="128963"/>
                  </a:cubicBezTo>
                  <a:lnTo>
                    <a:pt x="2873897" y="109794"/>
                  </a:lnTo>
                  <a:cubicBezTo>
                    <a:pt x="2877091" y="109794"/>
                    <a:pt x="2880819" y="108729"/>
                    <a:pt x="2884014" y="108729"/>
                  </a:cubicBezTo>
                  <a:cubicBezTo>
                    <a:pt x="2909040" y="108729"/>
                    <a:pt x="2927677" y="116716"/>
                    <a:pt x="2941522" y="132158"/>
                  </a:cubicBezTo>
                  <a:cubicBezTo>
                    <a:pt x="2956431" y="148132"/>
                    <a:pt x="2962821" y="169431"/>
                    <a:pt x="2962821" y="194990"/>
                  </a:cubicBezTo>
                  <a:cubicBezTo>
                    <a:pt x="2962821" y="198185"/>
                    <a:pt x="2962821" y="201912"/>
                    <a:pt x="2962821" y="202978"/>
                  </a:cubicBezTo>
                  <a:cubicBezTo>
                    <a:pt x="2962821" y="205107"/>
                    <a:pt x="2962821" y="207237"/>
                    <a:pt x="2962821" y="208835"/>
                  </a:cubicBezTo>
                  <a:lnTo>
                    <a:pt x="2873364" y="208835"/>
                  </a:lnTo>
                  <a:lnTo>
                    <a:pt x="2873364" y="209367"/>
                  </a:lnTo>
                  <a:close/>
                  <a:moveTo>
                    <a:pt x="2994770" y="325448"/>
                  </a:moveTo>
                  <a:lnTo>
                    <a:pt x="2994770" y="309473"/>
                  </a:lnTo>
                  <a:lnTo>
                    <a:pt x="3017134" y="307343"/>
                  </a:lnTo>
                  <a:lnTo>
                    <a:pt x="3025121" y="299356"/>
                  </a:lnTo>
                  <a:lnTo>
                    <a:pt x="3025121" y="141742"/>
                  </a:lnTo>
                  <a:lnTo>
                    <a:pt x="2994770" y="141742"/>
                  </a:lnTo>
                  <a:lnTo>
                    <a:pt x="2994770" y="127365"/>
                  </a:lnTo>
                  <a:lnTo>
                    <a:pt x="3045355" y="112456"/>
                  </a:lnTo>
                  <a:lnTo>
                    <a:pt x="3062395" y="112456"/>
                  </a:lnTo>
                  <a:lnTo>
                    <a:pt x="3062395" y="152924"/>
                  </a:lnTo>
                  <a:cubicBezTo>
                    <a:pt x="3069317" y="146002"/>
                    <a:pt x="3077304" y="138015"/>
                    <a:pt x="3083694" y="131625"/>
                  </a:cubicBezTo>
                  <a:cubicBezTo>
                    <a:pt x="3091681" y="124703"/>
                    <a:pt x="3100733" y="116716"/>
                    <a:pt x="3108720" y="110326"/>
                  </a:cubicBezTo>
                  <a:cubicBezTo>
                    <a:pt x="3109785" y="110326"/>
                    <a:pt x="3111915" y="110326"/>
                    <a:pt x="3112980" y="110326"/>
                  </a:cubicBezTo>
                  <a:cubicBezTo>
                    <a:pt x="3114045" y="110326"/>
                    <a:pt x="3116175" y="109261"/>
                    <a:pt x="3119902" y="109261"/>
                  </a:cubicBezTo>
                  <a:cubicBezTo>
                    <a:pt x="3124162" y="109261"/>
                    <a:pt x="3128955" y="110326"/>
                    <a:pt x="3132149" y="111391"/>
                  </a:cubicBezTo>
                  <a:cubicBezTo>
                    <a:pt x="3136409" y="112456"/>
                    <a:pt x="3141202" y="113521"/>
                    <a:pt x="3145461" y="115651"/>
                  </a:cubicBezTo>
                  <a:lnTo>
                    <a:pt x="3145461" y="152924"/>
                  </a:lnTo>
                  <a:lnTo>
                    <a:pt x="3132149" y="152924"/>
                  </a:lnTo>
                  <a:cubicBezTo>
                    <a:pt x="3128955" y="149730"/>
                    <a:pt x="3125227" y="147067"/>
                    <a:pt x="3122032" y="144937"/>
                  </a:cubicBezTo>
                  <a:cubicBezTo>
                    <a:pt x="3118837" y="143872"/>
                    <a:pt x="3114045" y="142807"/>
                    <a:pt x="3109785" y="142807"/>
                  </a:cubicBezTo>
                  <a:cubicBezTo>
                    <a:pt x="3102863" y="142807"/>
                    <a:pt x="3094876" y="144937"/>
                    <a:pt x="3087421" y="150794"/>
                  </a:cubicBezTo>
                  <a:cubicBezTo>
                    <a:pt x="3079434" y="155054"/>
                    <a:pt x="3071446" y="163042"/>
                    <a:pt x="3062395" y="174223"/>
                  </a:cubicBezTo>
                  <a:lnTo>
                    <a:pt x="3062395" y="299356"/>
                  </a:lnTo>
                  <a:lnTo>
                    <a:pt x="3069317" y="307343"/>
                  </a:lnTo>
                  <a:lnTo>
                    <a:pt x="3099668" y="309473"/>
                  </a:lnTo>
                  <a:lnTo>
                    <a:pt x="3099668" y="325448"/>
                  </a:lnTo>
                  <a:lnTo>
                    <a:pt x="2994770" y="325448"/>
                  </a:lnTo>
                  <a:lnTo>
                    <a:pt x="2994770" y="325448"/>
                  </a:lnTo>
                  <a:close/>
                  <a:moveTo>
                    <a:pt x="3299880" y="119378"/>
                  </a:moveTo>
                  <a:lnTo>
                    <a:pt x="3299880" y="168899"/>
                  </a:lnTo>
                  <a:lnTo>
                    <a:pt x="3277516" y="168899"/>
                  </a:lnTo>
                  <a:lnTo>
                    <a:pt x="3274322" y="138547"/>
                  </a:lnTo>
                  <a:cubicBezTo>
                    <a:pt x="3268464" y="135353"/>
                    <a:pt x="3263139" y="132690"/>
                    <a:pt x="3257282" y="130560"/>
                  </a:cubicBezTo>
                  <a:cubicBezTo>
                    <a:pt x="3253022" y="129495"/>
                    <a:pt x="3247165" y="128430"/>
                    <a:pt x="3241308" y="128430"/>
                  </a:cubicBezTo>
                  <a:cubicBezTo>
                    <a:pt x="3230126" y="128430"/>
                    <a:pt x="3221074" y="131625"/>
                    <a:pt x="3215216" y="137482"/>
                  </a:cubicBezTo>
                  <a:cubicBezTo>
                    <a:pt x="3208294" y="143340"/>
                    <a:pt x="3205099" y="149730"/>
                    <a:pt x="3205099" y="159847"/>
                  </a:cubicBezTo>
                  <a:cubicBezTo>
                    <a:pt x="3205099" y="168899"/>
                    <a:pt x="3207229" y="175821"/>
                    <a:pt x="3213086" y="181146"/>
                  </a:cubicBezTo>
                  <a:cubicBezTo>
                    <a:pt x="3218943" y="187003"/>
                    <a:pt x="3227463" y="192328"/>
                    <a:pt x="3242373" y="200315"/>
                  </a:cubicBezTo>
                  <a:cubicBezTo>
                    <a:pt x="3244502" y="201380"/>
                    <a:pt x="3248230" y="202445"/>
                    <a:pt x="3253555" y="204575"/>
                  </a:cubicBezTo>
                  <a:cubicBezTo>
                    <a:pt x="3269529" y="212562"/>
                    <a:pt x="3281776" y="218952"/>
                    <a:pt x="3288699" y="224809"/>
                  </a:cubicBezTo>
                  <a:cubicBezTo>
                    <a:pt x="3294556" y="229069"/>
                    <a:pt x="3298815" y="234926"/>
                    <a:pt x="3300946" y="241848"/>
                  </a:cubicBezTo>
                  <a:cubicBezTo>
                    <a:pt x="3304140" y="247706"/>
                    <a:pt x="3305205" y="255160"/>
                    <a:pt x="3305205" y="263148"/>
                  </a:cubicBezTo>
                  <a:cubicBezTo>
                    <a:pt x="3305205" y="283382"/>
                    <a:pt x="3298283" y="299356"/>
                    <a:pt x="3283906" y="311603"/>
                  </a:cubicBezTo>
                  <a:cubicBezTo>
                    <a:pt x="3269529" y="322785"/>
                    <a:pt x="3248763" y="328643"/>
                    <a:pt x="3223203" y="328643"/>
                  </a:cubicBezTo>
                  <a:cubicBezTo>
                    <a:pt x="3213086" y="328643"/>
                    <a:pt x="3202969" y="327578"/>
                    <a:pt x="3193917" y="326513"/>
                  </a:cubicBezTo>
                  <a:cubicBezTo>
                    <a:pt x="3183800" y="325448"/>
                    <a:pt x="3174748" y="323318"/>
                    <a:pt x="3166761" y="319591"/>
                  </a:cubicBezTo>
                  <a:lnTo>
                    <a:pt x="3166761" y="262083"/>
                  </a:lnTo>
                  <a:lnTo>
                    <a:pt x="3188060" y="262083"/>
                  </a:lnTo>
                  <a:lnTo>
                    <a:pt x="3192319" y="299356"/>
                  </a:lnTo>
                  <a:cubicBezTo>
                    <a:pt x="3199242" y="303616"/>
                    <a:pt x="3204566" y="306279"/>
                    <a:pt x="3211489" y="307343"/>
                  </a:cubicBezTo>
                  <a:cubicBezTo>
                    <a:pt x="3217346" y="309473"/>
                    <a:pt x="3223736" y="310538"/>
                    <a:pt x="3229593" y="310538"/>
                  </a:cubicBezTo>
                  <a:cubicBezTo>
                    <a:pt x="3241840" y="310538"/>
                    <a:pt x="3251957" y="307343"/>
                    <a:pt x="3259944" y="300421"/>
                  </a:cubicBezTo>
                  <a:cubicBezTo>
                    <a:pt x="3267932" y="293499"/>
                    <a:pt x="3271126" y="285512"/>
                    <a:pt x="3271126" y="274330"/>
                  </a:cubicBezTo>
                  <a:cubicBezTo>
                    <a:pt x="3271126" y="265278"/>
                    <a:pt x="3268997" y="258355"/>
                    <a:pt x="3263139" y="253031"/>
                  </a:cubicBezTo>
                  <a:cubicBezTo>
                    <a:pt x="3257282" y="247173"/>
                    <a:pt x="3246100" y="239719"/>
                    <a:pt x="3225866" y="230666"/>
                  </a:cubicBezTo>
                  <a:cubicBezTo>
                    <a:pt x="3204566" y="221614"/>
                    <a:pt x="3189657" y="211497"/>
                    <a:pt x="3182203" y="203510"/>
                  </a:cubicBezTo>
                  <a:cubicBezTo>
                    <a:pt x="3173150" y="194458"/>
                    <a:pt x="3169955" y="183276"/>
                    <a:pt x="3169955" y="171029"/>
                  </a:cubicBezTo>
                  <a:cubicBezTo>
                    <a:pt x="3169955" y="151859"/>
                    <a:pt x="3176878" y="135885"/>
                    <a:pt x="3190190" y="125768"/>
                  </a:cubicBezTo>
                  <a:cubicBezTo>
                    <a:pt x="3203502" y="114586"/>
                    <a:pt x="3222671" y="108729"/>
                    <a:pt x="3247698" y="108729"/>
                  </a:cubicBezTo>
                  <a:cubicBezTo>
                    <a:pt x="3257814" y="108729"/>
                    <a:pt x="3266867" y="109794"/>
                    <a:pt x="3274854" y="111923"/>
                  </a:cubicBezTo>
                  <a:cubicBezTo>
                    <a:pt x="3283906" y="114053"/>
                    <a:pt x="3291893" y="116183"/>
                    <a:pt x="3299880" y="119378"/>
                  </a:cubicBezTo>
                  <a:lnTo>
                    <a:pt x="3299880" y="119378"/>
                  </a:lnTo>
                  <a:close/>
                  <a:moveTo>
                    <a:pt x="3389870" y="112988"/>
                  </a:moveTo>
                  <a:lnTo>
                    <a:pt x="3406909" y="112988"/>
                  </a:lnTo>
                  <a:lnTo>
                    <a:pt x="3406909" y="299889"/>
                  </a:lnTo>
                  <a:lnTo>
                    <a:pt x="3413831" y="307876"/>
                  </a:lnTo>
                  <a:lnTo>
                    <a:pt x="3437261" y="310006"/>
                  </a:lnTo>
                  <a:lnTo>
                    <a:pt x="3437261" y="325980"/>
                  </a:lnTo>
                  <a:lnTo>
                    <a:pt x="3339284" y="325980"/>
                  </a:lnTo>
                  <a:lnTo>
                    <a:pt x="3339284" y="310006"/>
                  </a:lnTo>
                  <a:lnTo>
                    <a:pt x="3361648" y="307876"/>
                  </a:lnTo>
                  <a:lnTo>
                    <a:pt x="3369635" y="299889"/>
                  </a:lnTo>
                  <a:lnTo>
                    <a:pt x="3369635" y="142275"/>
                  </a:lnTo>
                  <a:lnTo>
                    <a:pt x="3339284" y="142275"/>
                  </a:lnTo>
                  <a:lnTo>
                    <a:pt x="3339284" y="127365"/>
                  </a:lnTo>
                  <a:lnTo>
                    <a:pt x="3389870" y="112988"/>
                  </a:lnTo>
                  <a:lnTo>
                    <a:pt x="3389870" y="112988"/>
                  </a:lnTo>
                  <a:close/>
                  <a:moveTo>
                    <a:pt x="3390934" y="15012"/>
                  </a:moveTo>
                  <a:cubicBezTo>
                    <a:pt x="3398922" y="15012"/>
                    <a:pt x="3404246" y="17142"/>
                    <a:pt x="3409039" y="22999"/>
                  </a:cubicBezTo>
                  <a:cubicBezTo>
                    <a:pt x="3414896" y="27259"/>
                    <a:pt x="3417026" y="33116"/>
                    <a:pt x="3417026" y="41104"/>
                  </a:cubicBezTo>
                  <a:cubicBezTo>
                    <a:pt x="3417026" y="48026"/>
                    <a:pt x="3414896" y="53351"/>
                    <a:pt x="3409039" y="58143"/>
                  </a:cubicBezTo>
                  <a:cubicBezTo>
                    <a:pt x="3404779" y="64000"/>
                    <a:pt x="3398922" y="66130"/>
                    <a:pt x="3390934" y="66130"/>
                  </a:cubicBezTo>
                  <a:cubicBezTo>
                    <a:pt x="3384013" y="66130"/>
                    <a:pt x="3378688" y="64000"/>
                    <a:pt x="3372830" y="58143"/>
                  </a:cubicBezTo>
                  <a:cubicBezTo>
                    <a:pt x="3368571" y="53883"/>
                    <a:pt x="3365908" y="48026"/>
                    <a:pt x="3365908" y="41104"/>
                  </a:cubicBezTo>
                  <a:cubicBezTo>
                    <a:pt x="3365908" y="33116"/>
                    <a:pt x="3368038" y="27792"/>
                    <a:pt x="3372830" y="22999"/>
                  </a:cubicBezTo>
                  <a:cubicBezTo>
                    <a:pt x="3378688" y="17142"/>
                    <a:pt x="3384545" y="15012"/>
                    <a:pt x="3390934" y="15012"/>
                  </a:cubicBezTo>
                  <a:lnTo>
                    <a:pt x="3390934" y="15012"/>
                  </a:lnTo>
                  <a:close/>
                  <a:moveTo>
                    <a:pt x="3484651" y="140677"/>
                  </a:moveTo>
                  <a:lnTo>
                    <a:pt x="3457494" y="140677"/>
                  </a:lnTo>
                  <a:lnTo>
                    <a:pt x="3457494" y="127365"/>
                  </a:lnTo>
                  <a:lnTo>
                    <a:pt x="3485716" y="114053"/>
                  </a:lnTo>
                  <a:lnTo>
                    <a:pt x="3504885" y="73585"/>
                  </a:lnTo>
                  <a:lnTo>
                    <a:pt x="3521924" y="73585"/>
                  </a:lnTo>
                  <a:lnTo>
                    <a:pt x="3521924" y="120975"/>
                  </a:lnTo>
                  <a:lnTo>
                    <a:pt x="3588484" y="120975"/>
                  </a:lnTo>
                  <a:lnTo>
                    <a:pt x="3588484" y="141210"/>
                  </a:lnTo>
                  <a:lnTo>
                    <a:pt x="3521924" y="141210"/>
                  </a:lnTo>
                  <a:lnTo>
                    <a:pt x="3521924" y="256225"/>
                  </a:lnTo>
                  <a:cubicBezTo>
                    <a:pt x="3521924" y="275395"/>
                    <a:pt x="3524054" y="288707"/>
                    <a:pt x="3529912" y="294564"/>
                  </a:cubicBezTo>
                  <a:cubicBezTo>
                    <a:pt x="3534172" y="301486"/>
                    <a:pt x="3544821" y="304681"/>
                    <a:pt x="3558133" y="304681"/>
                  </a:cubicBezTo>
                  <a:cubicBezTo>
                    <a:pt x="3562393" y="304681"/>
                    <a:pt x="3567185" y="304681"/>
                    <a:pt x="3573043" y="303616"/>
                  </a:cubicBezTo>
                  <a:cubicBezTo>
                    <a:pt x="3577302" y="303616"/>
                    <a:pt x="3583160" y="302551"/>
                    <a:pt x="3589017" y="301486"/>
                  </a:cubicBezTo>
                  <a:lnTo>
                    <a:pt x="3589017" y="317461"/>
                  </a:lnTo>
                  <a:cubicBezTo>
                    <a:pt x="3578900" y="320655"/>
                    <a:pt x="3568783" y="323318"/>
                    <a:pt x="3559731" y="325448"/>
                  </a:cubicBezTo>
                  <a:cubicBezTo>
                    <a:pt x="3549614" y="326513"/>
                    <a:pt x="3540561" y="327578"/>
                    <a:pt x="3531509" y="327578"/>
                  </a:cubicBezTo>
                  <a:cubicBezTo>
                    <a:pt x="3514470" y="327578"/>
                    <a:pt x="3502223" y="324383"/>
                    <a:pt x="3495300" y="317461"/>
                  </a:cubicBezTo>
                  <a:cubicBezTo>
                    <a:pt x="3488378" y="311603"/>
                    <a:pt x="3485184" y="299356"/>
                    <a:pt x="3485184" y="282317"/>
                  </a:cubicBezTo>
                  <a:lnTo>
                    <a:pt x="3485184" y="140677"/>
                  </a:lnTo>
                  <a:lnTo>
                    <a:pt x="3484651" y="140677"/>
                  </a:lnTo>
                  <a:close/>
                  <a:moveTo>
                    <a:pt x="3592744" y="114053"/>
                  </a:moveTo>
                  <a:lnTo>
                    <a:pt x="3687526" y="114053"/>
                  </a:lnTo>
                  <a:lnTo>
                    <a:pt x="3687526" y="131093"/>
                  </a:lnTo>
                  <a:lnTo>
                    <a:pt x="3665162" y="132158"/>
                  </a:lnTo>
                  <a:lnTo>
                    <a:pt x="3659304" y="140145"/>
                  </a:lnTo>
                  <a:lnTo>
                    <a:pt x="3712020" y="276460"/>
                  </a:lnTo>
                  <a:lnTo>
                    <a:pt x="3765800" y="140145"/>
                  </a:lnTo>
                  <a:lnTo>
                    <a:pt x="3762606" y="132158"/>
                  </a:lnTo>
                  <a:lnTo>
                    <a:pt x="3739176" y="131093"/>
                  </a:lnTo>
                  <a:lnTo>
                    <a:pt x="3739176" y="114053"/>
                  </a:lnTo>
                  <a:lnTo>
                    <a:pt x="3817984" y="114053"/>
                  </a:lnTo>
                  <a:lnTo>
                    <a:pt x="3817984" y="131093"/>
                  </a:lnTo>
                  <a:lnTo>
                    <a:pt x="3791892" y="134287"/>
                  </a:lnTo>
                  <a:lnTo>
                    <a:pt x="3704033" y="347279"/>
                  </a:lnTo>
                  <a:cubicBezTo>
                    <a:pt x="3692851" y="373371"/>
                    <a:pt x="3682734" y="392540"/>
                    <a:pt x="3671552" y="403722"/>
                  </a:cubicBezTo>
                  <a:cubicBezTo>
                    <a:pt x="3660369" y="414904"/>
                    <a:pt x="3648122" y="420762"/>
                    <a:pt x="3634278" y="420762"/>
                  </a:cubicBezTo>
                  <a:cubicBezTo>
                    <a:pt x="3625226" y="420762"/>
                    <a:pt x="3617238" y="418632"/>
                    <a:pt x="3611914" y="413839"/>
                  </a:cubicBezTo>
                  <a:cubicBezTo>
                    <a:pt x="3606056" y="409580"/>
                    <a:pt x="3603926" y="403722"/>
                    <a:pt x="3603926" y="396800"/>
                  </a:cubicBezTo>
                  <a:cubicBezTo>
                    <a:pt x="3603926" y="392540"/>
                    <a:pt x="3604992" y="387748"/>
                    <a:pt x="3606056" y="384553"/>
                  </a:cubicBezTo>
                  <a:cubicBezTo>
                    <a:pt x="3608186" y="380293"/>
                    <a:pt x="3611914" y="376566"/>
                    <a:pt x="3615108" y="373371"/>
                  </a:cubicBezTo>
                  <a:lnTo>
                    <a:pt x="3656642" y="389345"/>
                  </a:lnTo>
                  <a:cubicBezTo>
                    <a:pt x="3663564" y="382423"/>
                    <a:pt x="3669954" y="373371"/>
                    <a:pt x="3675811" y="362189"/>
                  </a:cubicBezTo>
                  <a:cubicBezTo>
                    <a:pt x="3681668" y="351007"/>
                    <a:pt x="3686993" y="338760"/>
                    <a:pt x="3692851" y="323850"/>
                  </a:cubicBezTo>
                  <a:lnTo>
                    <a:pt x="3618304" y="133755"/>
                  </a:lnTo>
                  <a:lnTo>
                    <a:pt x="3592212" y="131625"/>
                  </a:lnTo>
                  <a:lnTo>
                    <a:pt x="3592212" y="114053"/>
                  </a:lnTo>
                  <a:close/>
                  <a:moveTo>
                    <a:pt x="2548019" y="114053"/>
                  </a:moveTo>
                  <a:lnTo>
                    <a:pt x="2643865" y="114053"/>
                  </a:lnTo>
                  <a:lnTo>
                    <a:pt x="2643865" y="131093"/>
                  </a:lnTo>
                  <a:lnTo>
                    <a:pt x="2620436" y="132158"/>
                  </a:lnTo>
                  <a:lnTo>
                    <a:pt x="2616176" y="140145"/>
                  </a:lnTo>
                  <a:lnTo>
                    <a:pt x="2666762" y="283382"/>
                  </a:lnTo>
                  <a:lnTo>
                    <a:pt x="2723205" y="140145"/>
                  </a:lnTo>
                  <a:lnTo>
                    <a:pt x="2720010" y="132158"/>
                  </a:lnTo>
                  <a:lnTo>
                    <a:pt x="2696581" y="131093"/>
                  </a:lnTo>
                  <a:lnTo>
                    <a:pt x="2696581" y="114053"/>
                  </a:lnTo>
                  <a:lnTo>
                    <a:pt x="2773258" y="114053"/>
                  </a:lnTo>
                  <a:lnTo>
                    <a:pt x="2773258" y="131093"/>
                  </a:lnTo>
                  <a:lnTo>
                    <a:pt x="2748231" y="134287"/>
                  </a:lnTo>
                  <a:lnTo>
                    <a:pt x="2671554" y="325448"/>
                  </a:lnTo>
                  <a:lnTo>
                    <a:pt x="2646528" y="325448"/>
                  </a:lnTo>
                  <a:lnTo>
                    <a:pt x="2575708" y="132690"/>
                  </a:lnTo>
                  <a:lnTo>
                    <a:pt x="2548552" y="130560"/>
                  </a:lnTo>
                  <a:lnTo>
                    <a:pt x="2548552" y="114053"/>
                  </a:lnTo>
                  <a:lnTo>
                    <a:pt x="2548019" y="114053"/>
                  </a:lnTo>
                  <a:close/>
                  <a:moveTo>
                    <a:pt x="2873364" y="110326"/>
                  </a:moveTo>
                  <a:lnTo>
                    <a:pt x="2873364" y="129495"/>
                  </a:lnTo>
                  <a:cubicBezTo>
                    <a:pt x="2860052" y="130560"/>
                    <a:pt x="2849935" y="137482"/>
                    <a:pt x="2839818" y="147599"/>
                  </a:cubicBezTo>
                  <a:cubicBezTo>
                    <a:pt x="2829701" y="158782"/>
                    <a:pt x="2823843" y="173691"/>
                    <a:pt x="2822779" y="191263"/>
                  </a:cubicBezTo>
                  <a:lnTo>
                    <a:pt x="2873364" y="191263"/>
                  </a:lnTo>
                  <a:lnTo>
                    <a:pt x="2873364" y="209367"/>
                  </a:lnTo>
                  <a:lnTo>
                    <a:pt x="2820649" y="209367"/>
                  </a:lnTo>
                  <a:lnTo>
                    <a:pt x="2820649" y="215224"/>
                  </a:lnTo>
                  <a:cubicBezTo>
                    <a:pt x="2820649" y="242381"/>
                    <a:pt x="2827571" y="263680"/>
                    <a:pt x="2839818" y="280719"/>
                  </a:cubicBezTo>
                  <a:cubicBezTo>
                    <a:pt x="2848870" y="290837"/>
                    <a:pt x="2860052" y="298824"/>
                    <a:pt x="2873364" y="302019"/>
                  </a:cubicBezTo>
                  <a:lnTo>
                    <a:pt x="2873364" y="329175"/>
                  </a:lnTo>
                  <a:cubicBezTo>
                    <a:pt x="2847273" y="328110"/>
                    <a:pt x="2825973" y="317993"/>
                    <a:pt x="2808934" y="299889"/>
                  </a:cubicBezTo>
                  <a:cubicBezTo>
                    <a:pt x="2790830" y="279655"/>
                    <a:pt x="2781778" y="253563"/>
                    <a:pt x="2781778" y="221082"/>
                  </a:cubicBezTo>
                  <a:cubicBezTo>
                    <a:pt x="2781778" y="188600"/>
                    <a:pt x="2791895" y="162509"/>
                    <a:pt x="2809999" y="141210"/>
                  </a:cubicBezTo>
                  <a:cubicBezTo>
                    <a:pt x="2827038" y="123106"/>
                    <a:pt x="2847273" y="112988"/>
                    <a:pt x="2873364" y="110326"/>
                  </a:cubicBezTo>
                  <a:lnTo>
                    <a:pt x="2873364" y="110326"/>
                  </a:lnTo>
                  <a:close/>
                  <a:moveTo>
                    <a:pt x="1632686" y="323318"/>
                  </a:moveTo>
                  <a:lnTo>
                    <a:pt x="1632686" y="304149"/>
                  </a:lnTo>
                  <a:cubicBezTo>
                    <a:pt x="1636946" y="303084"/>
                    <a:pt x="1641738" y="302019"/>
                    <a:pt x="1647063" y="299889"/>
                  </a:cubicBezTo>
                  <a:cubicBezTo>
                    <a:pt x="1656115" y="296694"/>
                    <a:pt x="1666232" y="291902"/>
                    <a:pt x="1677414" y="285512"/>
                  </a:cubicBezTo>
                  <a:lnTo>
                    <a:pt x="1677414" y="207237"/>
                  </a:lnTo>
                  <a:cubicBezTo>
                    <a:pt x="1659310" y="213095"/>
                    <a:pt x="1644933" y="217354"/>
                    <a:pt x="1632153" y="222147"/>
                  </a:cubicBezTo>
                  <a:lnTo>
                    <a:pt x="1632153" y="204042"/>
                  </a:lnTo>
                  <a:cubicBezTo>
                    <a:pt x="1645465" y="200847"/>
                    <a:pt x="1660375" y="196055"/>
                    <a:pt x="1677414" y="192860"/>
                  </a:cubicBezTo>
                  <a:lnTo>
                    <a:pt x="1677414" y="178483"/>
                  </a:lnTo>
                  <a:cubicBezTo>
                    <a:pt x="1677414" y="160379"/>
                    <a:pt x="1674219" y="148132"/>
                    <a:pt x="1668362" y="140145"/>
                  </a:cubicBezTo>
                  <a:cubicBezTo>
                    <a:pt x="1662505" y="133223"/>
                    <a:pt x="1651323" y="130028"/>
                    <a:pt x="1636946" y="130028"/>
                  </a:cubicBezTo>
                  <a:cubicBezTo>
                    <a:pt x="1635881" y="130028"/>
                    <a:pt x="1633751" y="130028"/>
                    <a:pt x="1632686" y="130028"/>
                  </a:cubicBezTo>
                  <a:lnTo>
                    <a:pt x="1632686" y="110858"/>
                  </a:lnTo>
                  <a:cubicBezTo>
                    <a:pt x="1638543" y="110858"/>
                    <a:pt x="1642803" y="109794"/>
                    <a:pt x="1648660" y="109794"/>
                  </a:cubicBezTo>
                  <a:cubicBezTo>
                    <a:pt x="1672089" y="109794"/>
                    <a:pt x="1688064" y="115651"/>
                    <a:pt x="1699246" y="125768"/>
                  </a:cubicBezTo>
                  <a:cubicBezTo>
                    <a:pt x="1709363" y="135885"/>
                    <a:pt x="1715220" y="151859"/>
                    <a:pt x="1715220" y="174223"/>
                  </a:cubicBezTo>
                  <a:lnTo>
                    <a:pt x="1715220" y="300421"/>
                  </a:lnTo>
                  <a:lnTo>
                    <a:pt x="1722143" y="308408"/>
                  </a:lnTo>
                  <a:lnTo>
                    <a:pt x="1745572" y="310538"/>
                  </a:lnTo>
                  <a:lnTo>
                    <a:pt x="1745572" y="326513"/>
                  </a:lnTo>
                  <a:lnTo>
                    <a:pt x="1683804" y="326513"/>
                  </a:lnTo>
                  <a:lnTo>
                    <a:pt x="1677947" y="300421"/>
                  </a:lnTo>
                  <a:cubicBezTo>
                    <a:pt x="1663570" y="310538"/>
                    <a:pt x="1650790" y="317461"/>
                    <a:pt x="1638543" y="321720"/>
                  </a:cubicBezTo>
                  <a:cubicBezTo>
                    <a:pt x="1636946" y="322253"/>
                    <a:pt x="1634816" y="322253"/>
                    <a:pt x="1632686" y="323318"/>
                  </a:cubicBezTo>
                  <a:lnTo>
                    <a:pt x="1632686" y="323318"/>
                  </a:lnTo>
                  <a:close/>
                  <a:moveTo>
                    <a:pt x="2494771" y="15012"/>
                  </a:moveTo>
                  <a:cubicBezTo>
                    <a:pt x="2502758" y="15012"/>
                    <a:pt x="2508083" y="17142"/>
                    <a:pt x="2512875" y="22999"/>
                  </a:cubicBezTo>
                  <a:cubicBezTo>
                    <a:pt x="2518732" y="27259"/>
                    <a:pt x="2520862" y="33116"/>
                    <a:pt x="2520862" y="41104"/>
                  </a:cubicBezTo>
                  <a:cubicBezTo>
                    <a:pt x="2520862" y="48026"/>
                    <a:pt x="2518732" y="53351"/>
                    <a:pt x="2512875" y="58143"/>
                  </a:cubicBezTo>
                  <a:cubicBezTo>
                    <a:pt x="2508616" y="64000"/>
                    <a:pt x="2502758" y="66130"/>
                    <a:pt x="2494771" y="66130"/>
                  </a:cubicBezTo>
                  <a:cubicBezTo>
                    <a:pt x="2487849" y="66130"/>
                    <a:pt x="2482524" y="64000"/>
                    <a:pt x="2477731" y="58143"/>
                  </a:cubicBezTo>
                  <a:cubicBezTo>
                    <a:pt x="2471874" y="53883"/>
                    <a:pt x="2469744" y="48026"/>
                    <a:pt x="2469744" y="41104"/>
                  </a:cubicBezTo>
                  <a:cubicBezTo>
                    <a:pt x="2469744" y="33116"/>
                    <a:pt x="2471874" y="27792"/>
                    <a:pt x="2477731" y="22999"/>
                  </a:cubicBezTo>
                  <a:cubicBezTo>
                    <a:pt x="2482524" y="17142"/>
                    <a:pt x="2488381" y="15012"/>
                    <a:pt x="2494771" y="15012"/>
                  </a:cubicBezTo>
                  <a:lnTo>
                    <a:pt x="2494771" y="15012"/>
                  </a:lnTo>
                  <a:close/>
                  <a:moveTo>
                    <a:pt x="2493706" y="112988"/>
                  </a:moveTo>
                  <a:lnTo>
                    <a:pt x="2510745" y="112988"/>
                  </a:lnTo>
                  <a:lnTo>
                    <a:pt x="2510745" y="299889"/>
                  </a:lnTo>
                  <a:lnTo>
                    <a:pt x="2518732" y="307876"/>
                  </a:lnTo>
                  <a:lnTo>
                    <a:pt x="2542162" y="310006"/>
                  </a:lnTo>
                  <a:lnTo>
                    <a:pt x="2542162" y="325980"/>
                  </a:lnTo>
                  <a:lnTo>
                    <a:pt x="2443120" y="325980"/>
                  </a:lnTo>
                  <a:lnTo>
                    <a:pt x="2443120" y="310006"/>
                  </a:lnTo>
                  <a:lnTo>
                    <a:pt x="2466549" y="307876"/>
                  </a:lnTo>
                  <a:lnTo>
                    <a:pt x="2473472" y="299889"/>
                  </a:lnTo>
                  <a:lnTo>
                    <a:pt x="2473472" y="142275"/>
                  </a:lnTo>
                  <a:lnTo>
                    <a:pt x="2443120" y="142275"/>
                  </a:lnTo>
                  <a:lnTo>
                    <a:pt x="2443120" y="127365"/>
                  </a:lnTo>
                  <a:lnTo>
                    <a:pt x="2493706" y="112988"/>
                  </a:lnTo>
                  <a:lnTo>
                    <a:pt x="2493706" y="112988"/>
                  </a:lnTo>
                  <a:close/>
                  <a:moveTo>
                    <a:pt x="2191790" y="325448"/>
                  </a:moveTo>
                  <a:lnTo>
                    <a:pt x="2191790" y="309473"/>
                  </a:lnTo>
                  <a:lnTo>
                    <a:pt x="2215219" y="307343"/>
                  </a:lnTo>
                  <a:lnTo>
                    <a:pt x="2223206" y="299356"/>
                  </a:lnTo>
                  <a:lnTo>
                    <a:pt x="2223206" y="141742"/>
                  </a:lnTo>
                  <a:lnTo>
                    <a:pt x="2191790" y="141742"/>
                  </a:lnTo>
                  <a:lnTo>
                    <a:pt x="2191790" y="127365"/>
                  </a:lnTo>
                  <a:lnTo>
                    <a:pt x="2242376" y="112456"/>
                  </a:lnTo>
                  <a:lnTo>
                    <a:pt x="2259415" y="112456"/>
                  </a:lnTo>
                  <a:lnTo>
                    <a:pt x="2259415" y="135885"/>
                  </a:lnTo>
                  <a:cubicBezTo>
                    <a:pt x="2277519" y="125768"/>
                    <a:pt x="2290831" y="118846"/>
                    <a:pt x="2302013" y="115651"/>
                  </a:cubicBezTo>
                  <a:cubicBezTo>
                    <a:pt x="2312130" y="111391"/>
                    <a:pt x="2321183" y="108729"/>
                    <a:pt x="2330235" y="108729"/>
                  </a:cubicBezTo>
                  <a:cubicBezTo>
                    <a:pt x="2349404" y="108729"/>
                    <a:pt x="2363781" y="115651"/>
                    <a:pt x="2373898" y="126833"/>
                  </a:cubicBezTo>
                  <a:cubicBezTo>
                    <a:pt x="2384015" y="138015"/>
                    <a:pt x="2388275" y="155054"/>
                    <a:pt x="2388275" y="176354"/>
                  </a:cubicBezTo>
                  <a:lnTo>
                    <a:pt x="2388275" y="298824"/>
                  </a:lnTo>
                  <a:lnTo>
                    <a:pt x="2396262" y="306811"/>
                  </a:lnTo>
                  <a:lnTo>
                    <a:pt x="2419691" y="308941"/>
                  </a:lnTo>
                  <a:lnTo>
                    <a:pt x="2419691" y="324915"/>
                  </a:lnTo>
                  <a:lnTo>
                    <a:pt x="2323845" y="324915"/>
                  </a:lnTo>
                  <a:lnTo>
                    <a:pt x="2323845" y="308941"/>
                  </a:lnTo>
                  <a:lnTo>
                    <a:pt x="2344079" y="306811"/>
                  </a:lnTo>
                  <a:lnTo>
                    <a:pt x="2352066" y="298824"/>
                  </a:lnTo>
                  <a:lnTo>
                    <a:pt x="2352066" y="182743"/>
                  </a:lnTo>
                  <a:cubicBezTo>
                    <a:pt x="2352066" y="166769"/>
                    <a:pt x="2348872" y="155587"/>
                    <a:pt x="2341949" y="147599"/>
                  </a:cubicBezTo>
                  <a:cubicBezTo>
                    <a:pt x="2335027" y="140677"/>
                    <a:pt x="2323845" y="137482"/>
                    <a:pt x="2308403" y="137482"/>
                  </a:cubicBezTo>
                  <a:cubicBezTo>
                    <a:pt x="2300416" y="137482"/>
                    <a:pt x="2294026" y="138547"/>
                    <a:pt x="2284974" y="140677"/>
                  </a:cubicBezTo>
                  <a:cubicBezTo>
                    <a:pt x="2276987" y="143872"/>
                    <a:pt x="2267935" y="147599"/>
                    <a:pt x="2258882" y="151859"/>
                  </a:cubicBezTo>
                  <a:lnTo>
                    <a:pt x="2258882" y="298291"/>
                  </a:lnTo>
                  <a:lnTo>
                    <a:pt x="2266870" y="306279"/>
                  </a:lnTo>
                  <a:lnTo>
                    <a:pt x="2287104" y="308408"/>
                  </a:lnTo>
                  <a:lnTo>
                    <a:pt x="2287104" y="324383"/>
                  </a:lnTo>
                  <a:lnTo>
                    <a:pt x="2191790" y="324383"/>
                  </a:lnTo>
                  <a:lnTo>
                    <a:pt x="2191790" y="325448"/>
                  </a:lnTo>
                  <a:close/>
                  <a:moveTo>
                    <a:pt x="1885614" y="31519"/>
                  </a:moveTo>
                  <a:lnTo>
                    <a:pt x="1992642" y="31519"/>
                  </a:lnTo>
                  <a:lnTo>
                    <a:pt x="1992642" y="48558"/>
                  </a:lnTo>
                  <a:lnTo>
                    <a:pt x="1965486" y="50688"/>
                  </a:lnTo>
                  <a:lnTo>
                    <a:pt x="1958563" y="57610"/>
                  </a:lnTo>
                  <a:lnTo>
                    <a:pt x="1958563" y="216289"/>
                  </a:lnTo>
                  <a:cubicBezTo>
                    <a:pt x="1958563" y="246641"/>
                    <a:pt x="1964421" y="269005"/>
                    <a:pt x="1976668" y="282849"/>
                  </a:cubicBezTo>
                  <a:cubicBezTo>
                    <a:pt x="1988915" y="296161"/>
                    <a:pt x="2009149" y="303084"/>
                    <a:pt x="2036306" y="303084"/>
                  </a:cubicBezTo>
                  <a:cubicBezTo>
                    <a:pt x="2063462" y="303084"/>
                    <a:pt x="2083696" y="296161"/>
                    <a:pt x="2095944" y="282849"/>
                  </a:cubicBezTo>
                  <a:cubicBezTo>
                    <a:pt x="2108191" y="268472"/>
                    <a:pt x="2114048" y="246641"/>
                    <a:pt x="2114048" y="216289"/>
                  </a:cubicBezTo>
                  <a:lnTo>
                    <a:pt x="2114048" y="60805"/>
                  </a:lnTo>
                  <a:lnTo>
                    <a:pt x="2106061" y="52818"/>
                  </a:lnTo>
                  <a:lnTo>
                    <a:pt x="2078904" y="48558"/>
                  </a:lnTo>
                  <a:lnTo>
                    <a:pt x="2078904" y="31519"/>
                  </a:lnTo>
                  <a:lnTo>
                    <a:pt x="2172088" y="31519"/>
                  </a:lnTo>
                  <a:lnTo>
                    <a:pt x="2172088" y="48558"/>
                  </a:lnTo>
                  <a:lnTo>
                    <a:pt x="2144932" y="52818"/>
                  </a:lnTo>
                  <a:lnTo>
                    <a:pt x="2136944" y="60805"/>
                  </a:lnTo>
                  <a:lnTo>
                    <a:pt x="2136944" y="219484"/>
                  </a:lnTo>
                  <a:cubicBezTo>
                    <a:pt x="2136944" y="240783"/>
                    <a:pt x="2135880" y="256758"/>
                    <a:pt x="2132685" y="267940"/>
                  </a:cubicBezTo>
                  <a:cubicBezTo>
                    <a:pt x="2130555" y="279122"/>
                    <a:pt x="2124697" y="288174"/>
                    <a:pt x="2118308" y="297226"/>
                  </a:cubicBezTo>
                  <a:cubicBezTo>
                    <a:pt x="2109256" y="307343"/>
                    <a:pt x="2098073" y="315331"/>
                    <a:pt x="2081034" y="320655"/>
                  </a:cubicBezTo>
                  <a:cubicBezTo>
                    <a:pt x="2065059" y="327578"/>
                    <a:pt x="2047488" y="329708"/>
                    <a:pt x="2028319" y="329708"/>
                  </a:cubicBezTo>
                  <a:cubicBezTo>
                    <a:pt x="2008084" y="329708"/>
                    <a:pt x="1989980" y="327578"/>
                    <a:pt x="1974538" y="320655"/>
                  </a:cubicBezTo>
                  <a:cubicBezTo>
                    <a:pt x="1958563" y="314798"/>
                    <a:pt x="1946317" y="307343"/>
                    <a:pt x="1937264" y="297226"/>
                  </a:cubicBezTo>
                  <a:cubicBezTo>
                    <a:pt x="1930342" y="288174"/>
                    <a:pt x="1925017" y="279122"/>
                    <a:pt x="1922888" y="267940"/>
                  </a:cubicBezTo>
                  <a:cubicBezTo>
                    <a:pt x="1919693" y="256758"/>
                    <a:pt x="1918627" y="240783"/>
                    <a:pt x="1918627" y="219484"/>
                  </a:cubicBezTo>
                  <a:lnTo>
                    <a:pt x="1918627" y="57610"/>
                  </a:lnTo>
                  <a:lnTo>
                    <a:pt x="1910640" y="50688"/>
                  </a:lnTo>
                  <a:lnTo>
                    <a:pt x="1885614" y="48558"/>
                  </a:lnTo>
                  <a:lnTo>
                    <a:pt x="1885614" y="31519"/>
                  </a:lnTo>
                  <a:close/>
                  <a:moveTo>
                    <a:pt x="1632686" y="110326"/>
                  </a:moveTo>
                  <a:lnTo>
                    <a:pt x="1632686" y="129495"/>
                  </a:lnTo>
                  <a:cubicBezTo>
                    <a:pt x="1629491" y="129495"/>
                    <a:pt x="1624699" y="130560"/>
                    <a:pt x="1621504" y="130560"/>
                  </a:cubicBezTo>
                  <a:cubicBezTo>
                    <a:pt x="1615647" y="131625"/>
                    <a:pt x="1610322" y="133755"/>
                    <a:pt x="1604464" y="136418"/>
                  </a:cubicBezTo>
                  <a:lnTo>
                    <a:pt x="1604464" y="173691"/>
                  </a:lnTo>
                  <a:lnTo>
                    <a:pt x="1574113" y="173691"/>
                  </a:lnTo>
                  <a:cubicBezTo>
                    <a:pt x="1568256" y="173691"/>
                    <a:pt x="1565061" y="172626"/>
                    <a:pt x="1562931" y="170496"/>
                  </a:cubicBezTo>
                  <a:cubicBezTo>
                    <a:pt x="1560801" y="168366"/>
                    <a:pt x="1560801" y="164639"/>
                    <a:pt x="1560801" y="160379"/>
                  </a:cubicBezTo>
                  <a:cubicBezTo>
                    <a:pt x="1560801" y="145470"/>
                    <a:pt x="1568788" y="133223"/>
                    <a:pt x="1584230" y="124170"/>
                  </a:cubicBezTo>
                  <a:cubicBezTo>
                    <a:pt x="1597542" y="116183"/>
                    <a:pt x="1613517" y="111923"/>
                    <a:pt x="1632686" y="110326"/>
                  </a:cubicBezTo>
                  <a:lnTo>
                    <a:pt x="1632686" y="110326"/>
                  </a:lnTo>
                  <a:close/>
                  <a:moveTo>
                    <a:pt x="1632686" y="204042"/>
                  </a:moveTo>
                  <a:lnTo>
                    <a:pt x="1632686" y="222147"/>
                  </a:lnTo>
                  <a:cubicBezTo>
                    <a:pt x="1620439" y="226407"/>
                    <a:pt x="1611387" y="231199"/>
                    <a:pt x="1605529" y="235459"/>
                  </a:cubicBezTo>
                  <a:cubicBezTo>
                    <a:pt x="1594347" y="244511"/>
                    <a:pt x="1587425" y="254628"/>
                    <a:pt x="1587425" y="269005"/>
                  </a:cubicBezTo>
                  <a:cubicBezTo>
                    <a:pt x="1587425" y="279122"/>
                    <a:pt x="1590620" y="288174"/>
                    <a:pt x="1597542" y="295096"/>
                  </a:cubicBezTo>
                  <a:cubicBezTo>
                    <a:pt x="1603400" y="302019"/>
                    <a:pt x="1611919" y="304149"/>
                    <a:pt x="1623634" y="304149"/>
                  </a:cubicBezTo>
                  <a:cubicBezTo>
                    <a:pt x="1625764" y="304149"/>
                    <a:pt x="1629491" y="304149"/>
                    <a:pt x="1632686" y="304149"/>
                  </a:cubicBezTo>
                  <a:lnTo>
                    <a:pt x="1632686" y="323318"/>
                  </a:lnTo>
                  <a:cubicBezTo>
                    <a:pt x="1623634" y="326513"/>
                    <a:pt x="1614582" y="327578"/>
                    <a:pt x="1605529" y="327578"/>
                  </a:cubicBezTo>
                  <a:cubicBezTo>
                    <a:pt x="1588490" y="327578"/>
                    <a:pt x="1575178" y="323318"/>
                    <a:pt x="1565061" y="313201"/>
                  </a:cubicBezTo>
                  <a:cubicBezTo>
                    <a:pt x="1554944" y="303084"/>
                    <a:pt x="1549087" y="288174"/>
                    <a:pt x="1549087" y="272732"/>
                  </a:cubicBezTo>
                  <a:cubicBezTo>
                    <a:pt x="1549087" y="253563"/>
                    <a:pt x="1557074" y="239186"/>
                    <a:pt x="1572516" y="227471"/>
                  </a:cubicBezTo>
                  <a:cubicBezTo>
                    <a:pt x="1583165" y="221082"/>
                    <a:pt x="1603400" y="213095"/>
                    <a:pt x="1632686" y="204042"/>
                  </a:cubicBezTo>
                  <a:lnTo>
                    <a:pt x="1632686" y="204042"/>
                  </a:lnTo>
                  <a:close/>
                  <a:moveTo>
                    <a:pt x="913306" y="420229"/>
                  </a:moveTo>
                  <a:lnTo>
                    <a:pt x="913306" y="401060"/>
                  </a:lnTo>
                  <a:cubicBezTo>
                    <a:pt x="914371" y="401060"/>
                    <a:pt x="916501" y="401060"/>
                    <a:pt x="917565" y="401060"/>
                  </a:cubicBezTo>
                  <a:cubicBezTo>
                    <a:pt x="936735" y="401060"/>
                    <a:pt x="951112" y="396800"/>
                    <a:pt x="963891" y="387748"/>
                  </a:cubicBezTo>
                  <a:cubicBezTo>
                    <a:pt x="976138" y="378696"/>
                    <a:pt x="983061" y="367514"/>
                    <a:pt x="983061" y="354202"/>
                  </a:cubicBezTo>
                  <a:cubicBezTo>
                    <a:pt x="983061" y="345150"/>
                    <a:pt x="980931" y="337162"/>
                    <a:pt x="975073" y="332903"/>
                  </a:cubicBezTo>
                  <a:cubicBezTo>
                    <a:pt x="969216" y="328643"/>
                    <a:pt x="956969" y="323850"/>
                    <a:pt x="937800" y="320655"/>
                  </a:cubicBezTo>
                  <a:lnTo>
                    <a:pt x="912773" y="316396"/>
                  </a:lnTo>
                  <a:lnTo>
                    <a:pt x="912773" y="284979"/>
                  </a:lnTo>
                  <a:lnTo>
                    <a:pt x="940995" y="289239"/>
                  </a:lnTo>
                  <a:cubicBezTo>
                    <a:pt x="968151" y="293499"/>
                    <a:pt x="987320" y="300421"/>
                    <a:pt x="998502" y="308408"/>
                  </a:cubicBezTo>
                  <a:cubicBezTo>
                    <a:pt x="1009685" y="316396"/>
                    <a:pt x="1015542" y="328643"/>
                    <a:pt x="1015542" y="343552"/>
                  </a:cubicBezTo>
                  <a:cubicBezTo>
                    <a:pt x="1015542" y="352604"/>
                    <a:pt x="1013412" y="360591"/>
                    <a:pt x="1008620" y="369644"/>
                  </a:cubicBezTo>
                  <a:cubicBezTo>
                    <a:pt x="1002762" y="378696"/>
                    <a:pt x="997437" y="386683"/>
                    <a:pt x="988385" y="393073"/>
                  </a:cubicBezTo>
                  <a:cubicBezTo>
                    <a:pt x="977203" y="402125"/>
                    <a:pt x="963359" y="409047"/>
                    <a:pt x="948982" y="414372"/>
                  </a:cubicBezTo>
                  <a:cubicBezTo>
                    <a:pt x="937800" y="416502"/>
                    <a:pt x="925552" y="419164"/>
                    <a:pt x="913306" y="420229"/>
                  </a:cubicBezTo>
                  <a:lnTo>
                    <a:pt x="913306" y="420229"/>
                  </a:lnTo>
                  <a:close/>
                  <a:moveTo>
                    <a:pt x="913306" y="252498"/>
                  </a:moveTo>
                  <a:lnTo>
                    <a:pt x="913306" y="234394"/>
                  </a:lnTo>
                  <a:lnTo>
                    <a:pt x="913306" y="234394"/>
                  </a:lnTo>
                  <a:cubicBezTo>
                    <a:pt x="925552" y="234394"/>
                    <a:pt x="936735" y="230134"/>
                    <a:pt x="944722" y="219484"/>
                  </a:cubicBezTo>
                  <a:cubicBezTo>
                    <a:pt x="952709" y="210432"/>
                    <a:pt x="955904" y="197120"/>
                    <a:pt x="955904" y="181146"/>
                  </a:cubicBezTo>
                  <a:cubicBezTo>
                    <a:pt x="955904" y="164106"/>
                    <a:pt x="952709" y="151859"/>
                    <a:pt x="944722" y="141742"/>
                  </a:cubicBezTo>
                  <a:cubicBezTo>
                    <a:pt x="936735" y="131625"/>
                    <a:pt x="926618" y="127365"/>
                    <a:pt x="913306" y="127365"/>
                  </a:cubicBezTo>
                  <a:lnTo>
                    <a:pt x="913306" y="127365"/>
                  </a:lnTo>
                  <a:lnTo>
                    <a:pt x="913306" y="110326"/>
                  </a:lnTo>
                  <a:cubicBezTo>
                    <a:pt x="914371" y="109261"/>
                    <a:pt x="916501" y="109261"/>
                    <a:pt x="917565" y="109261"/>
                  </a:cubicBezTo>
                  <a:cubicBezTo>
                    <a:pt x="925552" y="109261"/>
                    <a:pt x="934605" y="110326"/>
                    <a:pt x="942592" y="112456"/>
                  </a:cubicBezTo>
                  <a:cubicBezTo>
                    <a:pt x="950579" y="114586"/>
                    <a:pt x="959631" y="118313"/>
                    <a:pt x="967619" y="122573"/>
                  </a:cubicBezTo>
                  <a:lnTo>
                    <a:pt x="1030451" y="122573"/>
                  </a:lnTo>
                  <a:lnTo>
                    <a:pt x="1030451" y="142807"/>
                  </a:lnTo>
                  <a:lnTo>
                    <a:pt x="981996" y="142807"/>
                  </a:lnTo>
                  <a:cubicBezTo>
                    <a:pt x="986255" y="148665"/>
                    <a:pt x="988918" y="155054"/>
                    <a:pt x="991048" y="161976"/>
                  </a:cubicBezTo>
                  <a:cubicBezTo>
                    <a:pt x="993178" y="168899"/>
                    <a:pt x="994243" y="175288"/>
                    <a:pt x="994243" y="183276"/>
                  </a:cubicBezTo>
                  <a:cubicBezTo>
                    <a:pt x="994243" y="203510"/>
                    <a:pt x="986255" y="219484"/>
                    <a:pt x="970813" y="232796"/>
                  </a:cubicBezTo>
                  <a:cubicBezTo>
                    <a:pt x="955904" y="245576"/>
                    <a:pt x="936735" y="251433"/>
                    <a:pt x="913306" y="252498"/>
                  </a:cubicBezTo>
                  <a:lnTo>
                    <a:pt x="913306" y="252498"/>
                  </a:lnTo>
                  <a:close/>
                  <a:moveTo>
                    <a:pt x="1344082" y="109261"/>
                  </a:moveTo>
                  <a:lnTo>
                    <a:pt x="1361121" y="109261"/>
                  </a:lnTo>
                  <a:lnTo>
                    <a:pt x="1361121" y="254628"/>
                  </a:lnTo>
                  <a:cubicBezTo>
                    <a:pt x="1361121" y="271667"/>
                    <a:pt x="1364316" y="282849"/>
                    <a:pt x="1371238" y="290837"/>
                  </a:cubicBezTo>
                  <a:cubicBezTo>
                    <a:pt x="1378160" y="297759"/>
                    <a:pt x="1388278" y="302019"/>
                    <a:pt x="1402655" y="302019"/>
                  </a:cubicBezTo>
                  <a:cubicBezTo>
                    <a:pt x="1410642" y="302019"/>
                    <a:pt x="1419694" y="300954"/>
                    <a:pt x="1427681" y="298824"/>
                  </a:cubicBezTo>
                  <a:cubicBezTo>
                    <a:pt x="1436733" y="296694"/>
                    <a:pt x="1444720" y="292967"/>
                    <a:pt x="1453773" y="288707"/>
                  </a:cubicBezTo>
                  <a:lnTo>
                    <a:pt x="1453773" y="140145"/>
                  </a:lnTo>
                  <a:lnTo>
                    <a:pt x="1422889" y="140145"/>
                  </a:lnTo>
                  <a:lnTo>
                    <a:pt x="1422889" y="126833"/>
                  </a:lnTo>
                  <a:lnTo>
                    <a:pt x="1473474" y="109794"/>
                  </a:lnTo>
                  <a:lnTo>
                    <a:pt x="1490514" y="109794"/>
                  </a:lnTo>
                  <a:lnTo>
                    <a:pt x="1490514" y="299889"/>
                  </a:lnTo>
                  <a:lnTo>
                    <a:pt x="1498501" y="307876"/>
                  </a:lnTo>
                  <a:lnTo>
                    <a:pt x="1518735" y="310006"/>
                  </a:lnTo>
                  <a:lnTo>
                    <a:pt x="1518735" y="325980"/>
                  </a:lnTo>
                  <a:lnTo>
                    <a:pt x="1453240" y="325980"/>
                  </a:lnTo>
                  <a:lnTo>
                    <a:pt x="1453240" y="300954"/>
                  </a:lnTo>
                  <a:cubicBezTo>
                    <a:pt x="1439928" y="311071"/>
                    <a:pt x="1427149" y="317993"/>
                    <a:pt x="1415967" y="322253"/>
                  </a:cubicBezTo>
                  <a:cubicBezTo>
                    <a:pt x="1403720" y="326513"/>
                    <a:pt x="1393602" y="329175"/>
                    <a:pt x="1382421" y="329175"/>
                  </a:cubicBezTo>
                  <a:cubicBezTo>
                    <a:pt x="1363251" y="329175"/>
                    <a:pt x="1349939" y="323318"/>
                    <a:pt x="1339822" y="312136"/>
                  </a:cubicBezTo>
                  <a:cubicBezTo>
                    <a:pt x="1329705" y="300954"/>
                    <a:pt x="1323848" y="283914"/>
                    <a:pt x="1323848" y="262615"/>
                  </a:cubicBezTo>
                  <a:lnTo>
                    <a:pt x="1323848" y="140145"/>
                  </a:lnTo>
                  <a:lnTo>
                    <a:pt x="1292431" y="140145"/>
                  </a:lnTo>
                  <a:lnTo>
                    <a:pt x="1292431" y="126833"/>
                  </a:lnTo>
                  <a:lnTo>
                    <a:pt x="1344082" y="109261"/>
                  </a:lnTo>
                  <a:lnTo>
                    <a:pt x="1344082" y="109261"/>
                  </a:lnTo>
                  <a:close/>
                  <a:moveTo>
                    <a:pt x="1096479" y="2233"/>
                  </a:moveTo>
                  <a:lnTo>
                    <a:pt x="1113518" y="2233"/>
                  </a:lnTo>
                  <a:lnTo>
                    <a:pt x="1113518" y="136418"/>
                  </a:lnTo>
                  <a:cubicBezTo>
                    <a:pt x="1130557" y="126300"/>
                    <a:pt x="1143869" y="119378"/>
                    <a:pt x="1155052" y="116183"/>
                  </a:cubicBezTo>
                  <a:cubicBezTo>
                    <a:pt x="1166233" y="111923"/>
                    <a:pt x="1175286" y="109261"/>
                    <a:pt x="1184338" y="109261"/>
                  </a:cubicBezTo>
                  <a:cubicBezTo>
                    <a:pt x="1203507" y="109261"/>
                    <a:pt x="1217884" y="116183"/>
                    <a:pt x="1228001" y="127365"/>
                  </a:cubicBezTo>
                  <a:cubicBezTo>
                    <a:pt x="1238118" y="138547"/>
                    <a:pt x="1242911" y="155587"/>
                    <a:pt x="1242911" y="176886"/>
                  </a:cubicBezTo>
                  <a:lnTo>
                    <a:pt x="1242911" y="299356"/>
                  </a:lnTo>
                  <a:lnTo>
                    <a:pt x="1250898" y="307343"/>
                  </a:lnTo>
                  <a:lnTo>
                    <a:pt x="1273262" y="309473"/>
                  </a:lnTo>
                  <a:lnTo>
                    <a:pt x="1273262" y="325448"/>
                  </a:lnTo>
                  <a:lnTo>
                    <a:pt x="1178480" y="325448"/>
                  </a:lnTo>
                  <a:lnTo>
                    <a:pt x="1178480" y="309473"/>
                  </a:lnTo>
                  <a:lnTo>
                    <a:pt x="1198715" y="307343"/>
                  </a:lnTo>
                  <a:lnTo>
                    <a:pt x="1205637" y="299356"/>
                  </a:lnTo>
                  <a:lnTo>
                    <a:pt x="1205637" y="183276"/>
                  </a:lnTo>
                  <a:cubicBezTo>
                    <a:pt x="1205637" y="167301"/>
                    <a:pt x="1202442" y="155054"/>
                    <a:pt x="1195520" y="148132"/>
                  </a:cubicBezTo>
                  <a:cubicBezTo>
                    <a:pt x="1188598" y="141210"/>
                    <a:pt x="1177416" y="138015"/>
                    <a:pt x="1161974" y="138015"/>
                  </a:cubicBezTo>
                  <a:cubicBezTo>
                    <a:pt x="1155052" y="138015"/>
                    <a:pt x="1147597" y="139080"/>
                    <a:pt x="1139610" y="141210"/>
                  </a:cubicBezTo>
                  <a:cubicBezTo>
                    <a:pt x="1131622" y="144405"/>
                    <a:pt x="1122570" y="148132"/>
                    <a:pt x="1113518" y="152392"/>
                  </a:cubicBezTo>
                  <a:lnTo>
                    <a:pt x="1113518" y="298824"/>
                  </a:lnTo>
                  <a:lnTo>
                    <a:pt x="1121505" y="306811"/>
                  </a:lnTo>
                  <a:lnTo>
                    <a:pt x="1141740" y="308941"/>
                  </a:lnTo>
                  <a:lnTo>
                    <a:pt x="1141740" y="324915"/>
                  </a:lnTo>
                  <a:lnTo>
                    <a:pt x="1045893" y="324915"/>
                  </a:lnTo>
                  <a:lnTo>
                    <a:pt x="1045893" y="308941"/>
                  </a:lnTo>
                  <a:lnTo>
                    <a:pt x="1069322" y="306811"/>
                  </a:lnTo>
                  <a:lnTo>
                    <a:pt x="1076245" y="298824"/>
                  </a:lnTo>
                  <a:lnTo>
                    <a:pt x="1076245" y="31519"/>
                  </a:lnTo>
                  <a:lnTo>
                    <a:pt x="1042698" y="31519"/>
                  </a:lnTo>
                  <a:lnTo>
                    <a:pt x="1042698" y="18207"/>
                  </a:lnTo>
                  <a:lnTo>
                    <a:pt x="1096479" y="2233"/>
                  </a:lnTo>
                  <a:close/>
                  <a:moveTo>
                    <a:pt x="913306" y="110326"/>
                  </a:moveTo>
                  <a:lnTo>
                    <a:pt x="913306" y="127365"/>
                  </a:lnTo>
                  <a:cubicBezTo>
                    <a:pt x="899994" y="127365"/>
                    <a:pt x="889877" y="131625"/>
                    <a:pt x="881889" y="141742"/>
                  </a:cubicBezTo>
                  <a:cubicBezTo>
                    <a:pt x="873902" y="150794"/>
                    <a:pt x="870707" y="164106"/>
                    <a:pt x="870707" y="181146"/>
                  </a:cubicBezTo>
                  <a:cubicBezTo>
                    <a:pt x="870707" y="197120"/>
                    <a:pt x="873902" y="210432"/>
                    <a:pt x="882954" y="219484"/>
                  </a:cubicBezTo>
                  <a:cubicBezTo>
                    <a:pt x="890941" y="229601"/>
                    <a:pt x="901059" y="234394"/>
                    <a:pt x="913306" y="234394"/>
                  </a:cubicBezTo>
                  <a:lnTo>
                    <a:pt x="913306" y="252498"/>
                  </a:lnTo>
                  <a:cubicBezTo>
                    <a:pt x="912240" y="252498"/>
                    <a:pt x="911176" y="252498"/>
                    <a:pt x="910111" y="252498"/>
                  </a:cubicBezTo>
                  <a:lnTo>
                    <a:pt x="903189" y="252498"/>
                  </a:lnTo>
                  <a:cubicBezTo>
                    <a:pt x="901059" y="255693"/>
                    <a:pt x="899994" y="258355"/>
                    <a:pt x="898929" y="261550"/>
                  </a:cubicBezTo>
                  <a:cubicBezTo>
                    <a:pt x="898929" y="264745"/>
                    <a:pt x="897864" y="268472"/>
                    <a:pt x="897864" y="271667"/>
                  </a:cubicBezTo>
                  <a:cubicBezTo>
                    <a:pt x="897864" y="272732"/>
                    <a:pt x="898929" y="274862"/>
                    <a:pt x="898929" y="278590"/>
                  </a:cubicBezTo>
                  <a:cubicBezTo>
                    <a:pt x="898929" y="280719"/>
                    <a:pt x="898929" y="281784"/>
                    <a:pt x="898929" y="281784"/>
                  </a:cubicBezTo>
                  <a:lnTo>
                    <a:pt x="913838" y="283914"/>
                  </a:lnTo>
                  <a:lnTo>
                    <a:pt x="913838" y="315331"/>
                  </a:lnTo>
                  <a:lnTo>
                    <a:pt x="896799" y="312136"/>
                  </a:lnTo>
                  <a:cubicBezTo>
                    <a:pt x="884552" y="315331"/>
                    <a:pt x="875500" y="321188"/>
                    <a:pt x="868577" y="329175"/>
                  </a:cubicBezTo>
                  <a:cubicBezTo>
                    <a:pt x="861655" y="337162"/>
                    <a:pt x="858460" y="345150"/>
                    <a:pt x="858460" y="355267"/>
                  </a:cubicBezTo>
                  <a:cubicBezTo>
                    <a:pt x="858460" y="368579"/>
                    <a:pt x="864317" y="378696"/>
                    <a:pt x="875500" y="387748"/>
                  </a:cubicBezTo>
                  <a:cubicBezTo>
                    <a:pt x="885617" y="395735"/>
                    <a:pt x="897864" y="399995"/>
                    <a:pt x="913838" y="401060"/>
                  </a:cubicBezTo>
                  <a:lnTo>
                    <a:pt x="913838" y="420229"/>
                  </a:lnTo>
                  <a:cubicBezTo>
                    <a:pt x="910643" y="420229"/>
                    <a:pt x="906916" y="420229"/>
                    <a:pt x="902656" y="420229"/>
                  </a:cubicBezTo>
                  <a:cubicBezTo>
                    <a:pt x="877629" y="420229"/>
                    <a:pt x="858993" y="415969"/>
                    <a:pt x="845148" y="405852"/>
                  </a:cubicBezTo>
                  <a:cubicBezTo>
                    <a:pt x="830771" y="395735"/>
                    <a:pt x="823849" y="382423"/>
                    <a:pt x="823849" y="364319"/>
                  </a:cubicBezTo>
                  <a:cubicBezTo>
                    <a:pt x="823849" y="351007"/>
                    <a:pt x="828109" y="338227"/>
                    <a:pt x="836096" y="329175"/>
                  </a:cubicBezTo>
                  <a:cubicBezTo>
                    <a:pt x="845148" y="319058"/>
                    <a:pt x="856330" y="312136"/>
                    <a:pt x="871240" y="310006"/>
                  </a:cubicBezTo>
                  <a:cubicBezTo>
                    <a:pt x="870175" y="306811"/>
                    <a:pt x="869110" y="303084"/>
                    <a:pt x="868045" y="299889"/>
                  </a:cubicBezTo>
                  <a:cubicBezTo>
                    <a:pt x="866980" y="296694"/>
                    <a:pt x="866980" y="292967"/>
                    <a:pt x="866980" y="289772"/>
                  </a:cubicBezTo>
                  <a:cubicBezTo>
                    <a:pt x="866980" y="285512"/>
                    <a:pt x="869110" y="278590"/>
                    <a:pt x="872837" y="271667"/>
                  </a:cubicBezTo>
                  <a:cubicBezTo>
                    <a:pt x="876032" y="264745"/>
                    <a:pt x="880824" y="257290"/>
                    <a:pt x="888812" y="249303"/>
                  </a:cubicBezTo>
                  <a:cubicBezTo>
                    <a:pt x="871772" y="245043"/>
                    <a:pt x="858460" y="237056"/>
                    <a:pt x="848343" y="225874"/>
                  </a:cubicBezTo>
                  <a:cubicBezTo>
                    <a:pt x="839291" y="213627"/>
                    <a:pt x="833966" y="199783"/>
                    <a:pt x="833966" y="183276"/>
                  </a:cubicBezTo>
                  <a:cubicBezTo>
                    <a:pt x="833966" y="161976"/>
                    <a:pt x="841953" y="143872"/>
                    <a:pt x="857395" y="130560"/>
                  </a:cubicBezTo>
                  <a:cubicBezTo>
                    <a:pt x="870175" y="117248"/>
                    <a:pt x="889344" y="110326"/>
                    <a:pt x="913306" y="110326"/>
                  </a:cubicBezTo>
                  <a:lnTo>
                    <a:pt x="913306" y="110326"/>
                  </a:lnTo>
                  <a:close/>
                  <a:moveTo>
                    <a:pt x="569856" y="325448"/>
                  </a:moveTo>
                  <a:lnTo>
                    <a:pt x="569856" y="309473"/>
                  </a:lnTo>
                  <a:lnTo>
                    <a:pt x="593285" y="307343"/>
                  </a:lnTo>
                  <a:lnTo>
                    <a:pt x="601272" y="299356"/>
                  </a:lnTo>
                  <a:lnTo>
                    <a:pt x="601272" y="141742"/>
                  </a:lnTo>
                  <a:lnTo>
                    <a:pt x="569856" y="141742"/>
                  </a:lnTo>
                  <a:lnTo>
                    <a:pt x="569856" y="127365"/>
                  </a:lnTo>
                  <a:lnTo>
                    <a:pt x="620442" y="112456"/>
                  </a:lnTo>
                  <a:lnTo>
                    <a:pt x="637481" y="112456"/>
                  </a:lnTo>
                  <a:lnTo>
                    <a:pt x="637481" y="135885"/>
                  </a:lnTo>
                  <a:cubicBezTo>
                    <a:pt x="654520" y="125768"/>
                    <a:pt x="668897" y="118846"/>
                    <a:pt x="680079" y="115651"/>
                  </a:cubicBezTo>
                  <a:cubicBezTo>
                    <a:pt x="690197" y="111391"/>
                    <a:pt x="699249" y="108729"/>
                    <a:pt x="708301" y="108729"/>
                  </a:cubicBezTo>
                  <a:cubicBezTo>
                    <a:pt x="727470" y="108729"/>
                    <a:pt x="741847" y="115651"/>
                    <a:pt x="751964" y="126833"/>
                  </a:cubicBezTo>
                  <a:cubicBezTo>
                    <a:pt x="762081" y="138015"/>
                    <a:pt x="766341" y="155054"/>
                    <a:pt x="766341" y="176354"/>
                  </a:cubicBezTo>
                  <a:lnTo>
                    <a:pt x="766341" y="298824"/>
                  </a:lnTo>
                  <a:lnTo>
                    <a:pt x="774328" y="306811"/>
                  </a:lnTo>
                  <a:lnTo>
                    <a:pt x="797757" y="308941"/>
                  </a:lnTo>
                  <a:lnTo>
                    <a:pt x="797757" y="324915"/>
                  </a:lnTo>
                  <a:lnTo>
                    <a:pt x="700846" y="324915"/>
                  </a:lnTo>
                  <a:lnTo>
                    <a:pt x="700846" y="308941"/>
                  </a:lnTo>
                  <a:lnTo>
                    <a:pt x="722145" y="306811"/>
                  </a:lnTo>
                  <a:lnTo>
                    <a:pt x="730133" y="298824"/>
                  </a:lnTo>
                  <a:lnTo>
                    <a:pt x="730133" y="182743"/>
                  </a:lnTo>
                  <a:cubicBezTo>
                    <a:pt x="730133" y="166769"/>
                    <a:pt x="726938" y="155587"/>
                    <a:pt x="720015" y="147599"/>
                  </a:cubicBezTo>
                  <a:cubicBezTo>
                    <a:pt x="713093" y="140677"/>
                    <a:pt x="701911" y="137482"/>
                    <a:pt x="684872" y="137482"/>
                  </a:cubicBezTo>
                  <a:cubicBezTo>
                    <a:pt x="677949" y="137482"/>
                    <a:pt x="671560" y="138547"/>
                    <a:pt x="662508" y="140677"/>
                  </a:cubicBezTo>
                  <a:cubicBezTo>
                    <a:pt x="654520" y="143872"/>
                    <a:pt x="645468" y="147599"/>
                    <a:pt x="636416" y="151859"/>
                  </a:cubicBezTo>
                  <a:lnTo>
                    <a:pt x="636416" y="298291"/>
                  </a:lnTo>
                  <a:lnTo>
                    <a:pt x="644403" y="306279"/>
                  </a:lnTo>
                  <a:lnTo>
                    <a:pt x="664637" y="308408"/>
                  </a:lnTo>
                  <a:lnTo>
                    <a:pt x="664637" y="324383"/>
                  </a:lnTo>
                  <a:lnTo>
                    <a:pt x="569856" y="324383"/>
                  </a:lnTo>
                  <a:lnTo>
                    <a:pt x="569856" y="325448"/>
                  </a:lnTo>
                  <a:close/>
                  <a:moveTo>
                    <a:pt x="501166" y="15012"/>
                  </a:moveTo>
                  <a:cubicBezTo>
                    <a:pt x="509153" y="15012"/>
                    <a:pt x="514478" y="17142"/>
                    <a:pt x="519270" y="22999"/>
                  </a:cubicBezTo>
                  <a:cubicBezTo>
                    <a:pt x="525128" y="27259"/>
                    <a:pt x="527258" y="33116"/>
                    <a:pt x="527258" y="41104"/>
                  </a:cubicBezTo>
                  <a:cubicBezTo>
                    <a:pt x="527258" y="48026"/>
                    <a:pt x="525128" y="53351"/>
                    <a:pt x="519270" y="58143"/>
                  </a:cubicBezTo>
                  <a:cubicBezTo>
                    <a:pt x="515011" y="64000"/>
                    <a:pt x="509153" y="66130"/>
                    <a:pt x="501166" y="66130"/>
                  </a:cubicBezTo>
                  <a:cubicBezTo>
                    <a:pt x="494244" y="66130"/>
                    <a:pt x="488919" y="64000"/>
                    <a:pt x="484127" y="58143"/>
                  </a:cubicBezTo>
                  <a:cubicBezTo>
                    <a:pt x="478270" y="53883"/>
                    <a:pt x="476140" y="48026"/>
                    <a:pt x="476140" y="41104"/>
                  </a:cubicBezTo>
                  <a:cubicBezTo>
                    <a:pt x="476140" y="33116"/>
                    <a:pt x="478270" y="27792"/>
                    <a:pt x="484127" y="22999"/>
                  </a:cubicBezTo>
                  <a:cubicBezTo>
                    <a:pt x="488919" y="17142"/>
                    <a:pt x="494244" y="15012"/>
                    <a:pt x="501166" y="15012"/>
                  </a:cubicBezTo>
                  <a:lnTo>
                    <a:pt x="501166" y="15012"/>
                  </a:lnTo>
                  <a:close/>
                  <a:moveTo>
                    <a:pt x="500101" y="112988"/>
                  </a:moveTo>
                  <a:lnTo>
                    <a:pt x="517141" y="112988"/>
                  </a:lnTo>
                  <a:lnTo>
                    <a:pt x="517141" y="299889"/>
                  </a:lnTo>
                  <a:lnTo>
                    <a:pt x="525128" y="307876"/>
                  </a:lnTo>
                  <a:lnTo>
                    <a:pt x="547492" y="310006"/>
                  </a:lnTo>
                  <a:lnTo>
                    <a:pt x="547492" y="325980"/>
                  </a:lnTo>
                  <a:lnTo>
                    <a:pt x="449516" y="325980"/>
                  </a:lnTo>
                  <a:lnTo>
                    <a:pt x="449516" y="310006"/>
                  </a:lnTo>
                  <a:lnTo>
                    <a:pt x="472945" y="307876"/>
                  </a:lnTo>
                  <a:lnTo>
                    <a:pt x="479867" y="299889"/>
                  </a:lnTo>
                  <a:lnTo>
                    <a:pt x="479867" y="142275"/>
                  </a:lnTo>
                  <a:lnTo>
                    <a:pt x="449516" y="142275"/>
                  </a:lnTo>
                  <a:lnTo>
                    <a:pt x="449516" y="127365"/>
                  </a:lnTo>
                  <a:lnTo>
                    <a:pt x="500101" y="112988"/>
                  </a:lnTo>
                  <a:lnTo>
                    <a:pt x="500101" y="112988"/>
                  </a:lnTo>
                  <a:close/>
                  <a:moveTo>
                    <a:pt x="410112" y="119378"/>
                  </a:moveTo>
                  <a:lnTo>
                    <a:pt x="410112" y="168899"/>
                  </a:lnTo>
                  <a:lnTo>
                    <a:pt x="388813" y="168899"/>
                  </a:lnTo>
                  <a:lnTo>
                    <a:pt x="384553" y="138547"/>
                  </a:lnTo>
                  <a:cubicBezTo>
                    <a:pt x="378696" y="135353"/>
                    <a:pt x="373371" y="132690"/>
                    <a:pt x="368579" y="130560"/>
                  </a:cubicBezTo>
                  <a:cubicBezTo>
                    <a:pt x="362721" y="129495"/>
                    <a:pt x="357397" y="128430"/>
                    <a:pt x="352604" y="128430"/>
                  </a:cubicBezTo>
                  <a:cubicBezTo>
                    <a:pt x="340357" y="128430"/>
                    <a:pt x="332370" y="131625"/>
                    <a:pt x="325448" y="137482"/>
                  </a:cubicBezTo>
                  <a:cubicBezTo>
                    <a:pt x="318526" y="143340"/>
                    <a:pt x="315331" y="149730"/>
                    <a:pt x="315331" y="159847"/>
                  </a:cubicBezTo>
                  <a:cubicBezTo>
                    <a:pt x="315331" y="168899"/>
                    <a:pt x="318526" y="175821"/>
                    <a:pt x="323318" y="181146"/>
                  </a:cubicBezTo>
                  <a:cubicBezTo>
                    <a:pt x="329175" y="187003"/>
                    <a:pt x="337695" y="192328"/>
                    <a:pt x="352604" y="200315"/>
                  </a:cubicBezTo>
                  <a:cubicBezTo>
                    <a:pt x="354734" y="201380"/>
                    <a:pt x="358462" y="202445"/>
                    <a:pt x="363786" y="204575"/>
                  </a:cubicBezTo>
                  <a:cubicBezTo>
                    <a:pt x="379761" y="212562"/>
                    <a:pt x="392008" y="218952"/>
                    <a:pt x="399995" y="224809"/>
                  </a:cubicBezTo>
                  <a:cubicBezTo>
                    <a:pt x="404255" y="229069"/>
                    <a:pt x="409047" y="234926"/>
                    <a:pt x="412242" y="241848"/>
                  </a:cubicBezTo>
                  <a:cubicBezTo>
                    <a:pt x="414372" y="247706"/>
                    <a:pt x="415437" y="255160"/>
                    <a:pt x="415437" y="263148"/>
                  </a:cubicBezTo>
                  <a:cubicBezTo>
                    <a:pt x="415437" y="283382"/>
                    <a:pt x="408515" y="299356"/>
                    <a:pt x="394138" y="311603"/>
                  </a:cubicBezTo>
                  <a:cubicBezTo>
                    <a:pt x="379761" y="322785"/>
                    <a:pt x="358994" y="328643"/>
                    <a:pt x="334500" y="328643"/>
                  </a:cubicBezTo>
                  <a:cubicBezTo>
                    <a:pt x="323318" y="328643"/>
                    <a:pt x="313201" y="327578"/>
                    <a:pt x="304149" y="326513"/>
                  </a:cubicBezTo>
                  <a:cubicBezTo>
                    <a:pt x="294031" y="325448"/>
                    <a:pt x="284979" y="323318"/>
                    <a:pt x="276992" y="319591"/>
                  </a:cubicBezTo>
                  <a:lnTo>
                    <a:pt x="276992" y="262083"/>
                  </a:lnTo>
                  <a:lnTo>
                    <a:pt x="298291" y="262083"/>
                  </a:lnTo>
                  <a:lnTo>
                    <a:pt x="302551" y="299356"/>
                  </a:lnTo>
                  <a:cubicBezTo>
                    <a:pt x="309473" y="303616"/>
                    <a:pt x="314798" y="306279"/>
                    <a:pt x="321720" y="307343"/>
                  </a:cubicBezTo>
                  <a:cubicBezTo>
                    <a:pt x="327578" y="309473"/>
                    <a:pt x="333967" y="310538"/>
                    <a:pt x="340890" y="310538"/>
                  </a:cubicBezTo>
                  <a:cubicBezTo>
                    <a:pt x="353137" y="310538"/>
                    <a:pt x="362189" y="307343"/>
                    <a:pt x="370176" y="300421"/>
                  </a:cubicBezTo>
                  <a:cubicBezTo>
                    <a:pt x="378163" y="293499"/>
                    <a:pt x="381358" y="285512"/>
                    <a:pt x="381358" y="274330"/>
                  </a:cubicBezTo>
                  <a:cubicBezTo>
                    <a:pt x="381358" y="265278"/>
                    <a:pt x="379228" y="258355"/>
                    <a:pt x="373371" y="253031"/>
                  </a:cubicBezTo>
                  <a:cubicBezTo>
                    <a:pt x="369111" y="247173"/>
                    <a:pt x="356332" y="239719"/>
                    <a:pt x="336097" y="230666"/>
                  </a:cubicBezTo>
                  <a:cubicBezTo>
                    <a:pt x="314798" y="221614"/>
                    <a:pt x="299889" y="211497"/>
                    <a:pt x="292434" y="203510"/>
                  </a:cubicBezTo>
                  <a:cubicBezTo>
                    <a:pt x="284447" y="194458"/>
                    <a:pt x="280187" y="183276"/>
                    <a:pt x="280187" y="171029"/>
                  </a:cubicBezTo>
                  <a:cubicBezTo>
                    <a:pt x="280187" y="151859"/>
                    <a:pt x="287109" y="135885"/>
                    <a:pt x="300421" y="125768"/>
                  </a:cubicBezTo>
                  <a:cubicBezTo>
                    <a:pt x="313733" y="114586"/>
                    <a:pt x="332902" y="108729"/>
                    <a:pt x="357929" y="108729"/>
                  </a:cubicBezTo>
                  <a:cubicBezTo>
                    <a:pt x="368046" y="108729"/>
                    <a:pt x="377098" y="109794"/>
                    <a:pt x="386150" y="111923"/>
                  </a:cubicBezTo>
                  <a:cubicBezTo>
                    <a:pt x="394138" y="114053"/>
                    <a:pt x="402125" y="116183"/>
                    <a:pt x="410112" y="119378"/>
                  </a:cubicBezTo>
                  <a:lnTo>
                    <a:pt x="410112" y="119378"/>
                  </a:lnTo>
                  <a:close/>
                  <a:moveTo>
                    <a:pt x="3297" y="31519"/>
                  </a:moveTo>
                  <a:lnTo>
                    <a:pt x="250901" y="31519"/>
                  </a:lnTo>
                  <a:lnTo>
                    <a:pt x="250901" y="98079"/>
                  </a:lnTo>
                  <a:lnTo>
                    <a:pt x="227471" y="98079"/>
                  </a:lnTo>
                  <a:lnTo>
                    <a:pt x="221614" y="57610"/>
                  </a:lnTo>
                  <a:lnTo>
                    <a:pt x="214692" y="50688"/>
                  </a:lnTo>
                  <a:lnTo>
                    <a:pt x="148132" y="50688"/>
                  </a:lnTo>
                  <a:lnTo>
                    <a:pt x="148132" y="298291"/>
                  </a:lnTo>
                  <a:lnTo>
                    <a:pt x="155054" y="305214"/>
                  </a:lnTo>
                  <a:lnTo>
                    <a:pt x="184341" y="307343"/>
                  </a:lnTo>
                  <a:lnTo>
                    <a:pt x="184341" y="325448"/>
                  </a:lnTo>
                  <a:lnTo>
                    <a:pt x="70390" y="325448"/>
                  </a:lnTo>
                  <a:lnTo>
                    <a:pt x="70390" y="307343"/>
                  </a:lnTo>
                  <a:lnTo>
                    <a:pt x="99676" y="305214"/>
                  </a:lnTo>
                  <a:lnTo>
                    <a:pt x="106598" y="298291"/>
                  </a:lnTo>
                  <a:lnTo>
                    <a:pt x="106598" y="50688"/>
                  </a:lnTo>
                  <a:lnTo>
                    <a:pt x="40039" y="50688"/>
                  </a:lnTo>
                  <a:lnTo>
                    <a:pt x="33116" y="57610"/>
                  </a:lnTo>
                  <a:lnTo>
                    <a:pt x="27259" y="98079"/>
                  </a:lnTo>
                  <a:lnTo>
                    <a:pt x="2233" y="98079"/>
                  </a:lnTo>
                  <a:lnTo>
                    <a:pt x="2233" y="31519"/>
                  </a:ln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微软雅黑" panose="020B0503020204020204" charset="-122"/>
                <a:cs typeface="+mn-cs"/>
              </a:endParaRPr>
            </a:p>
          </p:txBody>
        </p:sp>
        <p:pic>
          <p:nvPicPr>
            <p:cNvPr id="50" name="图片 4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685028" y="2913592"/>
              <a:ext cx="1584000" cy="1584000"/>
            </a:xfrm>
            <a:prstGeom prst="rect">
              <a:avLst/>
            </a:prstGeom>
          </p:spPr>
        </p:pic>
      </p:grpSp>
      <p:sp>
        <p:nvSpPr>
          <p:cNvPr id="3" name="灯片编号占位符 2">
            <a:extLst>
              <a:ext uri="{FF2B5EF4-FFF2-40B4-BE49-F238E27FC236}">
                <a16:creationId xmlns:a16="http://schemas.microsoft.com/office/drawing/2014/main" id="{36623BF7-873F-46A4-A5FE-14E045908DCD}"/>
              </a:ext>
            </a:extLst>
          </p:cNvPr>
          <p:cNvSpPr>
            <a:spLocks noGrp="1"/>
          </p:cNvSpPr>
          <p:nvPr>
            <p:ph type="sldNum" sz="quarter" idx="12"/>
          </p:nvPr>
        </p:nvSpPr>
        <p:spPr/>
        <p:txBody>
          <a:bodyPr/>
          <a:lstStyle/>
          <a:p>
            <a:fld id="{565CE74E-AB26-4998-AD42-012C4C1AD076}" type="slidenum">
              <a:rPr lang="zh-CN" altLang="en-US" smtClean="0"/>
              <a:t>1</a:t>
            </a:fld>
            <a:endParaRPr lang="zh-CN" altLang="en-US"/>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slow" p14:dur="1500" advTm="4344">
        <p:random/>
      </p:transition>
    </mc:Choice>
    <mc:Fallback xmlns="">
      <p:transition spd="slow" advTm="4344">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0-#ppt_w/2"/>
                                          </p:val>
                                        </p:tav>
                                        <p:tav tm="100000">
                                          <p:val>
                                            <p:strVal val="#ppt_x"/>
                                          </p:val>
                                        </p:tav>
                                      </p:tavLst>
                                    </p:anim>
                                    <p:anim calcmode="lin" valueType="num">
                                      <p:cBhvr additive="base">
                                        <p:cTn id="8" dur="500" fill="hold"/>
                                        <p:tgtEl>
                                          <p:spTgt spid="1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500" fill="hold"/>
                                        <p:tgtEl>
                                          <p:spTgt spid="20"/>
                                        </p:tgtEl>
                                        <p:attrNameLst>
                                          <p:attrName>ppt_x</p:attrName>
                                        </p:attrNameLst>
                                      </p:cBhvr>
                                      <p:tavLst>
                                        <p:tav tm="0">
                                          <p:val>
                                            <p:strVal val="1+#ppt_w/2"/>
                                          </p:val>
                                        </p:tav>
                                        <p:tav tm="100000">
                                          <p:val>
                                            <p:strVal val="#ppt_x"/>
                                          </p:val>
                                        </p:tav>
                                      </p:tavLst>
                                    </p:anim>
                                    <p:anim calcmode="lin" valueType="num">
                                      <p:cBhvr additive="base">
                                        <p:cTn id="12" dur="500" fill="hold"/>
                                        <p:tgtEl>
                                          <p:spTgt spid="20"/>
                                        </p:tgtEl>
                                        <p:attrNameLst>
                                          <p:attrName>ppt_y</p:attrName>
                                        </p:attrNameLst>
                                      </p:cBhvr>
                                      <p:tavLst>
                                        <p:tav tm="0">
                                          <p:val>
                                            <p:strVal val="#ppt_y"/>
                                          </p:val>
                                        </p:tav>
                                        <p:tav tm="100000">
                                          <p:val>
                                            <p:strVal val="#ppt_y"/>
                                          </p:val>
                                        </p:tav>
                                      </p:tavLst>
                                    </p:anim>
                                  </p:childTnLst>
                                </p:cTn>
                              </p:par>
                              <p:par>
                                <p:cTn id="13" presetID="42" presetClass="entr" presetSubtype="0" fill="hold"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1000"/>
                                        <p:tgtEl>
                                          <p:spTgt spid="54"/>
                                        </p:tgtEl>
                                      </p:cBhvr>
                                    </p:animEffect>
                                    <p:anim calcmode="lin" valueType="num">
                                      <p:cBhvr>
                                        <p:cTn id="16" dur="1000" fill="hold"/>
                                        <p:tgtEl>
                                          <p:spTgt spid="54"/>
                                        </p:tgtEl>
                                        <p:attrNameLst>
                                          <p:attrName>ppt_x</p:attrName>
                                        </p:attrNameLst>
                                      </p:cBhvr>
                                      <p:tavLst>
                                        <p:tav tm="0">
                                          <p:val>
                                            <p:strVal val="#ppt_x"/>
                                          </p:val>
                                        </p:tav>
                                        <p:tav tm="100000">
                                          <p:val>
                                            <p:strVal val="#ppt_x"/>
                                          </p:val>
                                        </p:tav>
                                      </p:tavLst>
                                    </p:anim>
                                    <p:anim calcmode="lin" valueType="num">
                                      <p:cBhvr>
                                        <p:cTn id="17" dur="1000" fill="hold"/>
                                        <p:tgtEl>
                                          <p:spTgt spid="54"/>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0"/>
                                  </p:stCondLst>
                                  <p:childTnLst>
                                    <p:set>
                                      <p:cBhvr>
                                        <p:cTn id="19" dur="1" fill="hold">
                                          <p:stCondLst>
                                            <p:cond delay="0"/>
                                          </p:stCondLst>
                                        </p:cTn>
                                        <p:tgtEl>
                                          <p:spTgt spid="44"/>
                                        </p:tgtEl>
                                        <p:attrNameLst>
                                          <p:attrName>style.visibility</p:attrName>
                                        </p:attrNameLst>
                                      </p:cBhvr>
                                      <p:to>
                                        <p:strVal val="visible"/>
                                      </p:to>
                                    </p:set>
                                    <p:animEffect transition="in" filter="fade">
                                      <p:cBhvr>
                                        <p:cTn id="20" dur="1000"/>
                                        <p:tgtEl>
                                          <p:spTgt spid="44"/>
                                        </p:tgtEl>
                                      </p:cBhvr>
                                    </p:animEffect>
                                    <p:anim calcmode="lin" valueType="num">
                                      <p:cBhvr>
                                        <p:cTn id="21" dur="1000" fill="hold"/>
                                        <p:tgtEl>
                                          <p:spTgt spid="44"/>
                                        </p:tgtEl>
                                        <p:attrNameLst>
                                          <p:attrName>ppt_x</p:attrName>
                                        </p:attrNameLst>
                                      </p:cBhvr>
                                      <p:tavLst>
                                        <p:tav tm="0">
                                          <p:val>
                                            <p:strVal val="#ppt_x"/>
                                          </p:val>
                                        </p:tav>
                                        <p:tav tm="100000">
                                          <p:val>
                                            <p:strVal val="#ppt_x"/>
                                          </p:val>
                                        </p:tav>
                                      </p:tavLst>
                                    </p:anim>
                                    <p:anim calcmode="lin" valueType="num">
                                      <p:cBhvr>
                                        <p:cTn id="22" dur="1000" fill="hold"/>
                                        <p:tgtEl>
                                          <p:spTgt spid="4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1665"/>
          </a:xfrm>
          <a:prstGeom prst="rect">
            <a:avLst/>
          </a:prstGeom>
          <a:noFill/>
        </p:spPr>
        <p:txBody>
          <a:bodyPr wrap="square">
            <a:spAutoFit/>
          </a:bodyPr>
          <a:lstStyle/>
          <a:p>
            <a:pPr lvl="0">
              <a:defRPr/>
            </a:pPr>
            <a:r>
              <a:rPr lang="en-US" altLang="zh-CN" sz="2400" dirty="0">
                <a:solidFill>
                  <a:prstClr val="white"/>
                </a:solidFill>
                <a:latin typeface="HelveticaExt-Normal"/>
                <a:ea typeface="OPPOSans B"/>
              </a:rPr>
              <a:t>2.2 </a:t>
            </a:r>
            <a:r>
              <a:rPr lang="zh-CN" altLang="en-US" sz="2400" dirty="0">
                <a:solidFill>
                  <a:prstClr val="white"/>
                </a:solidFill>
                <a:latin typeface="HelveticaExt-Normal"/>
                <a:ea typeface="OPPOSans B"/>
              </a:rPr>
              <a:t>用户交互与反馈</a:t>
            </a:r>
            <a:endPar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4">
              <a:biLevel thresh="25000"/>
            </a:blip>
            <a:srcRect l="30188"/>
            <a:stretch>
              <a:fillRect/>
            </a:stretch>
          </p:blipFill>
          <p:spPr>
            <a:xfrm>
              <a:off x="10483399" y="211219"/>
              <a:ext cx="1621585" cy="701101"/>
            </a:xfrm>
            <a:prstGeom prst="rect">
              <a:avLst/>
            </a:prstGeom>
          </p:spPr>
        </p:pic>
      </p:grpSp>
      <p:pic>
        <p:nvPicPr>
          <p:cNvPr id="7" name="图片 6">
            <a:extLst>
              <a:ext uri="{FF2B5EF4-FFF2-40B4-BE49-F238E27FC236}">
                <a16:creationId xmlns:a16="http://schemas.microsoft.com/office/drawing/2014/main" id="{74F0322E-6AF4-4A2E-A2BF-AB28BCD6B091}"/>
              </a:ext>
            </a:extLst>
          </p:cNvPr>
          <p:cNvPicPr/>
          <p:nvPr/>
        </p:nvPicPr>
        <p:blipFill>
          <a:blip r:embed="rId5"/>
          <a:stretch>
            <a:fillRect/>
          </a:stretch>
        </p:blipFill>
        <p:spPr>
          <a:xfrm>
            <a:off x="1465766" y="1097775"/>
            <a:ext cx="8971005" cy="544224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 name="灯片编号占位符 2">
            <a:extLst>
              <a:ext uri="{FF2B5EF4-FFF2-40B4-BE49-F238E27FC236}">
                <a16:creationId xmlns:a16="http://schemas.microsoft.com/office/drawing/2014/main" id="{DE1091E4-F35C-44C0-8D18-D920CC0AA376}"/>
              </a:ext>
            </a:extLst>
          </p:cNvPr>
          <p:cNvSpPr>
            <a:spLocks noGrp="1"/>
          </p:cNvSpPr>
          <p:nvPr>
            <p:ph type="sldNum" sz="quarter" idx="12"/>
          </p:nvPr>
        </p:nvSpPr>
        <p:spPr/>
        <p:txBody>
          <a:bodyPr/>
          <a:lstStyle/>
          <a:p>
            <a:fld id="{565CE74E-AB26-4998-AD42-012C4C1AD076}" type="slidenum">
              <a:rPr lang="zh-CN" altLang="en-US" smtClean="0"/>
              <a:t>10</a:t>
            </a:fld>
            <a:endParaRPr lang="zh-CN" altLang="en-US"/>
          </a:p>
        </p:txBody>
      </p:sp>
    </p:spTree>
    <p:extLst>
      <p:ext uri="{BB962C8B-B14F-4D97-AF65-F5344CB8AC3E}">
        <p14:creationId xmlns:p14="http://schemas.microsoft.com/office/powerpoint/2010/main" val="2209632378"/>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65334"/>
            <a:ext cx="12192000" cy="8831509"/>
          </a:xfrm>
          <a:prstGeom prst="rect">
            <a:avLst/>
          </a:prstGeom>
        </p:spPr>
      </p:pic>
      <p:sp>
        <p:nvSpPr>
          <p:cNvPr id="5" name="矩形 4"/>
          <p:cNvSpPr/>
          <p:nvPr/>
        </p:nvSpPr>
        <p:spPr>
          <a:xfrm>
            <a:off x="0" y="-65334"/>
            <a:ext cx="12192000" cy="7688943"/>
          </a:xfrm>
          <a:prstGeom prst="rect">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1" name="组合 20"/>
          <p:cNvGrpSpPr/>
          <p:nvPr/>
        </p:nvGrpSpPr>
        <p:grpSpPr>
          <a:xfrm>
            <a:off x="-2846530" y="-1770744"/>
            <a:ext cx="8399978" cy="7688943"/>
            <a:chOff x="-2846530" y="-1770744"/>
            <a:chExt cx="8399978" cy="7688943"/>
          </a:xfrm>
        </p:grpSpPr>
        <p:sp>
          <p:nvSpPr>
            <p:cNvPr id="2" name="椭圆 1"/>
            <p:cNvSpPr/>
            <p:nvPr/>
          </p:nvSpPr>
          <p:spPr>
            <a:xfrm>
              <a:off x="-2846530" y="-1770744"/>
              <a:ext cx="7688943" cy="7688943"/>
            </a:xfrm>
            <a:prstGeom prst="ellipse">
              <a:avLst/>
            </a:prstGeom>
            <a:gradFill>
              <a:gsLst>
                <a:gs pos="0">
                  <a:srgbClr val="703881"/>
                </a:gs>
                <a:gs pos="66000">
                  <a:srgbClr val="882959"/>
                </a:gs>
              </a:gsLst>
              <a:lin ang="5400000" scaled="1"/>
            </a:gradFill>
            <a:ln>
              <a:noFill/>
            </a:ln>
            <a:effectLst>
              <a:outerShdw blurRad="2794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5" name="文本框 14"/>
            <p:cNvSpPr txBox="1"/>
            <p:nvPr/>
          </p:nvSpPr>
          <p:spPr>
            <a:xfrm>
              <a:off x="-1214742" y="1161142"/>
              <a:ext cx="6768190" cy="37702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3900" b="0" i="0" u="none" strike="noStrike" kern="1200" cap="none" spc="0" normalizeH="0" baseline="0" noProof="0" dirty="0">
                  <a:ln>
                    <a:noFill/>
                  </a:ln>
                  <a:solidFill>
                    <a:prstClr val="white"/>
                  </a:solidFill>
                  <a:effectLst>
                    <a:outerShdw blurRad="63500" sx="101000" sy="101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rPr>
                <a:t>03</a:t>
              </a:r>
              <a:endParaRPr kumimoji="0" lang="zh-CN" altLang="en-US" sz="23900" b="0" i="0" u="none" strike="noStrike" kern="1200" cap="none" spc="0" normalizeH="0" baseline="0" noProof="0" dirty="0">
                <a:ln>
                  <a:noFill/>
                </a:ln>
                <a:solidFill>
                  <a:prstClr val="white"/>
                </a:solidFill>
                <a:effectLst>
                  <a:outerShdw blurRad="63500" sx="101000" sy="101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endParaRPr>
            </a:p>
          </p:txBody>
        </p:sp>
      </p:grpSp>
      <p:grpSp>
        <p:nvGrpSpPr>
          <p:cNvPr id="18" name="组合 17"/>
          <p:cNvGrpSpPr/>
          <p:nvPr/>
        </p:nvGrpSpPr>
        <p:grpSpPr>
          <a:xfrm>
            <a:off x="5140956" y="2474962"/>
            <a:ext cx="6477909" cy="1104149"/>
            <a:chOff x="5862081" y="2617371"/>
            <a:chExt cx="6477909" cy="1104149"/>
          </a:xfrm>
        </p:grpSpPr>
        <p:sp>
          <p:nvSpPr>
            <p:cNvPr id="16" name="文本框 15"/>
            <p:cNvSpPr txBox="1"/>
            <p:nvPr/>
          </p:nvSpPr>
          <p:spPr>
            <a:xfrm>
              <a:off x="5862082" y="2617371"/>
              <a:ext cx="6477908" cy="1015663"/>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60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概念功能设计</a:t>
              </a:r>
            </a:p>
          </p:txBody>
        </p:sp>
        <p:sp>
          <p:nvSpPr>
            <p:cNvPr id="17" name="文本框 16"/>
            <p:cNvSpPr txBox="1"/>
            <p:nvPr/>
          </p:nvSpPr>
          <p:spPr>
            <a:xfrm>
              <a:off x="5862081" y="3506076"/>
              <a:ext cx="6477909" cy="215444"/>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rPr>
                <a:t>Click here to replace the title</a:t>
              </a:r>
              <a:endParaRPr kumimoji="0" lang="zh-CN" altLang="en-US" sz="8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p:txBody>
        </p:sp>
      </p:grpSp>
      <p:sp>
        <p:nvSpPr>
          <p:cNvPr id="19" name="圆: 空心 18"/>
          <p:cNvSpPr/>
          <p:nvPr/>
        </p:nvSpPr>
        <p:spPr>
          <a:xfrm>
            <a:off x="10808543" y="5670073"/>
            <a:ext cx="2766913" cy="2766913"/>
          </a:xfrm>
          <a:prstGeom prst="donut">
            <a:avLst/>
          </a:prstGeom>
          <a:gradFill>
            <a:gsLst>
              <a:gs pos="0">
                <a:srgbClr val="703881"/>
              </a:gs>
              <a:gs pos="66000">
                <a:srgbClr val="88295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6" name="灯片编号占位符 5">
            <a:extLst>
              <a:ext uri="{FF2B5EF4-FFF2-40B4-BE49-F238E27FC236}">
                <a16:creationId xmlns:a16="http://schemas.microsoft.com/office/drawing/2014/main" id="{864F096B-250A-40A4-A33A-061C47BC8B85}"/>
              </a:ext>
            </a:extLst>
          </p:cNvPr>
          <p:cNvSpPr>
            <a:spLocks noGrp="1"/>
          </p:cNvSpPr>
          <p:nvPr>
            <p:ph type="sldNum" sz="quarter" idx="12"/>
          </p:nvPr>
        </p:nvSpPr>
        <p:spPr/>
        <p:txBody>
          <a:bodyPr/>
          <a:lstStyle/>
          <a:p>
            <a:fld id="{565CE74E-AB26-4998-AD42-012C4C1AD076}" type="slidenum">
              <a:rPr lang="zh-CN" altLang="en-US" smtClean="0"/>
              <a:t>11</a:t>
            </a:fld>
            <a:endParaRPr lang="zh-CN" altLang="en-US"/>
          </a:p>
        </p:txBody>
      </p:sp>
    </p:spTree>
    <p:custDataLst>
      <p:tags r:id="rId1"/>
    </p:custDataLst>
  </p:cSld>
  <p:clrMapOvr>
    <a:masterClrMapping/>
  </p:clrMapOvr>
  <p:transition spd="slow" advTm="242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par>
                                <p:cTn id="10" presetID="22" presetClass="entr" presetSubtype="8" fill="hold"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wipe(left)">
                                      <p:cBhvr>
                                        <p:cTn id="12" dur="500"/>
                                        <p:tgtEl>
                                          <p:spTgt spid="18"/>
                                        </p:tgtEl>
                                      </p:cBhvr>
                                    </p:animEffect>
                                  </p:childTnLst>
                                </p:cTn>
                              </p:par>
                              <p:par>
                                <p:cTn id="13" presetID="42"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1000"/>
                                        <p:tgtEl>
                                          <p:spTgt spid="19"/>
                                        </p:tgtEl>
                                      </p:cBhvr>
                                    </p:animEffect>
                                    <p:anim calcmode="lin" valueType="num">
                                      <p:cBhvr>
                                        <p:cTn id="16" dur="1000" fill="hold"/>
                                        <p:tgtEl>
                                          <p:spTgt spid="19"/>
                                        </p:tgtEl>
                                        <p:attrNameLst>
                                          <p:attrName>ppt_x</p:attrName>
                                        </p:attrNameLst>
                                      </p:cBhvr>
                                      <p:tavLst>
                                        <p:tav tm="0">
                                          <p:val>
                                            <p:strVal val="#ppt_x"/>
                                          </p:val>
                                        </p:tav>
                                        <p:tav tm="100000">
                                          <p:val>
                                            <p:strVal val="#ppt_x"/>
                                          </p:val>
                                        </p:tav>
                                      </p:tavLst>
                                    </p:anim>
                                    <p:anim calcmode="lin" valueType="num">
                                      <p:cBhvr>
                                        <p:cTn id="17"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1665"/>
          </a:xfrm>
          <a:prstGeom prst="rect">
            <a:avLst/>
          </a:prstGeom>
          <a:noFill/>
        </p:spPr>
        <p:txBody>
          <a:bodyPr wrap="square">
            <a:spAutoFit/>
          </a:bodyPr>
          <a:lstStyle/>
          <a:p>
            <a:pPr lvl="0">
              <a:defRPr/>
            </a:pPr>
            <a:r>
              <a:rPr lang="en-US" altLang="zh-CN" sz="2400" dirty="0">
                <a:solidFill>
                  <a:prstClr val="white"/>
                </a:solidFill>
                <a:latin typeface="HelveticaExt-Normal"/>
                <a:ea typeface="OPPOSans B"/>
              </a:rPr>
              <a:t>3.1 </a:t>
            </a:r>
            <a:r>
              <a:rPr lang="zh-CN" altLang="zh-CN" sz="2400" dirty="0">
                <a:solidFill>
                  <a:prstClr val="white"/>
                </a:solidFill>
                <a:latin typeface="HelveticaExt-Normal"/>
                <a:ea typeface="OPPOSans B"/>
              </a:rPr>
              <a:t>展品功能分解</a:t>
            </a:r>
            <a:endParaRPr lang="zh-CN" altLang="en-US" sz="2400" dirty="0">
              <a:solidFill>
                <a:prstClr val="white"/>
              </a:solidFill>
              <a:latin typeface="HelveticaExt-Normal"/>
              <a:ea typeface="OPPOSans B"/>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4">
              <a:biLevel thresh="25000"/>
            </a:blip>
            <a:srcRect l="30188"/>
            <a:stretch>
              <a:fillRect/>
            </a:stretch>
          </p:blipFill>
          <p:spPr>
            <a:xfrm>
              <a:off x="10483399" y="211219"/>
              <a:ext cx="1621585" cy="701101"/>
            </a:xfrm>
            <a:prstGeom prst="rect">
              <a:avLst/>
            </a:prstGeom>
          </p:spPr>
        </p:pic>
      </p:grpSp>
      <p:pic>
        <p:nvPicPr>
          <p:cNvPr id="4" name="图片 3">
            <a:extLst>
              <a:ext uri="{FF2B5EF4-FFF2-40B4-BE49-F238E27FC236}">
                <a16:creationId xmlns:a16="http://schemas.microsoft.com/office/drawing/2014/main" id="{BF3FF45C-FB62-0990-B1F3-C4B42CB7369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1783" y="1636162"/>
            <a:ext cx="4196139" cy="5160719"/>
          </a:xfrm>
          <a:prstGeom prst="rect">
            <a:avLst/>
          </a:prstGeom>
        </p:spPr>
      </p:pic>
      <p:sp>
        <p:nvSpPr>
          <p:cNvPr id="7" name="文本框 6">
            <a:extLst>
              <a:ext uri="{FF2B5EF4-FFF2-40B4-BE49-F238E27FC236}">
                <a16:creationId xmlns:a16="http://schemas.microsoft.com/office/drawing/2014/main" id="{3C99CF63-85EF-3BEE-E80D-8E215EE98239}"/>
              </a:ext>
            </a:extLst>
          </p:cNvPr>
          <p:cNvSpPr txBox="1"/>
          <p:nvPr/>
        </p:nvSpPr>
        <p:spPr>
          <a:xfrm>
            <a:off x="-131694" y="1063993"/>
            <a:ext cx="10724194" cy="490840"/>
          </a:xfrm>
          <a:prstGeom prst="rect">
            <a:avLst/>
          </a:prstGeom>
          <a:noFill/>
        </p:spPr>
        <p:txBody>
          <a:bodyPr wrap="square">
            <a:spAutoFit/>
          </a:bodyPr>
          <a:lstStyle/>
          <a:p>
            <a:pPr indent="304800" algn="just">
              <a:lnSpc>
                <a:spcPct val="150000"/>
              </a:lnSpc>
            </a:pPr>
            <a:r>
              <a:rPr lang="zh-CN" altLang="zh-CN" sz="2000" kern="100" dirty="0">
                <a:effectLst/>
                <a:latin typeface="黑体" panose="02010609060101010101" pitchFamily="49" charset="-122"/>
                <a:ea typeface="黑体" panose="02010609060101010101" pitchFamily="49" charset="-122"/>
                <a:cs typeface="Times New Roman" panose="02020603050405020304" pitchFamily="18" charset="0"/>
              </a:rPr>
              <a:t>根据前期设计，我们计划将“</a:t>
            </a:r>
            <a:r>
              <a:rPr lang="en-US" altLang="zh-CN" sz="2000" kern="100" dirty="0">
                <a:effectLst/>
                <a:latin typeface="黑体" panose="02010609060101010101" pitchFamily="49" charset="-122"/>
                <a:ea typeface="黑体" panose="02010609060101010101" pitchFamily="49" charset="-122"/>
                <a:cs typeface="Times New Roman" panose="02020603050405020304" pitchFamily="18" charset="0"/>
              </a:rPr>
              <a:t>Stellaris Rover</a:t>
            </a:r>
            <a:r>
              <a:rPr lang="zh-CN" altLang="zh-CN" sz="2000" kern="100" dirty="0">
                <a:effectLst/>
                <a:latin typeface="黑体" panose="02010609060101010101" pitchFamily="49" charset="-122"/>
                <a:ea typeface="黑体" panose="02010609060101010101" pitchFamily="49" charset="-122"/>
                <a:cs typeface="Times New Roman" panose="02020603050405020304" pitchFamily="18" charset="0"/>
              </a:rPr>
              <a:t>”的总功能分解</a:t>
            </a:r>
            <a:r>
              <a:rPr lang="zh-CN" altLang="zh-CN" sz="2000" kern="100" dirty="0">
                <a:latin typeface="黑体" panose="02010609060101010101" pitchFamily="49" charset="-122"/>
                <a:ea typeface="黑体" panose="02010609060101010101" pitchFamily="49" charset="-122"/>
                <a:cs typeface="Times New Roman" panose="02020603050405020304" pitchFamily="18" charset="0"/>
              </a:rPr>
              <a:t>为</a:t>
            </a:r>
            <a:r>
              <a:rPr lang="en-US" altLang="zh-CN" sz="2000" kern="100" dirty="0">
                <a:latin typeface="黑体" panose="02010609060101010101" pitchFamily="49" charset="-122"/>
                <a:ea typeface="黑体" panose="02010609060101010101" pitchFamily="49" charset="-122"/>
                <a:cs typeface="Times New Roman" panose="02020603050405020304" pitchFamily="18" charset="0"/>
              </a:rPr>
              <a:t>4</a:t>
            </a:r>
            <a:r>
              <a:rPr lang="zh-CN" altLang="zh-CN" sz="2000" kern="100" dirty="0">
                <a:latin typeface="黑体" panose="02010609060101010101" pitchFamily="49" charset="-122"/>
                <a:ea typeface="黑体" panose="02010609060101010101" pitchFamily="49" charset="-122"/>
                <a:cs typeface="Times New Roman" panose="02020603050405020304" pitchFamily="18" charset="0"/>
              </a:rPr>
              <a:t>个子系统：</a:t>
            </a:r>
          </a:p>
        </p:txBody>
      </p:sp>
      <p:sp>
        <p:nvSpPr>
          <p:cNvPr id="10" name="文本框 9">
            <a:extLst>
              <a:ext uri="{FF2B5EF4-FFF2-40B4-BE49-F238E27FC236}">
                <a16:creationId xmlns:a16="http://schemas.microsoft.com/office/drawing/2014/main" id="{07F8B738-1666-478D-B702-775A0531FCDE}"/>
              </a:ext>
            </a:extLst>
          </p:cNvPr>
          <p:cNvSpPr txBox="1"/>
          <p:nvPr/>
        </p:nvSpPr>
        <p:spPr>
          <a:xfrm>
            <a:off x="5667120" y="1916500"/>
            <a:ext cx="6524880" cy="4600042"/>
          </a:xfrm>
          <a:prstGeom prst="rect">
            <a:avLst/>
          </a:prstGeom>
          <a:noFill/>
        </p:spPr>
        <p:txBody>
          <a:bodyPr wrap="square" rtlCol="0">
            <a:spAutoFit/>
          </a:bodyPr>
          <a:lstStyle/>
          <a:p>
            <a:pPr marL="285750" indent="-285750">
              <a:lnSpc>
                <a:spcPct val="150000"/>
              </a:lnSpc>
              <a:buFont typeface="Wingdings" panose="05000000000000000000" pitchFamily="2" charset="2"/>
              <a:buChar char="l"/>
            </a:pPr>
            <a:r>
              <a:rPr lang="zh-CN" altLang="en-US" sz="2200" dirty="0"/>
              <a:t>运动机构：</a:t>
            </a:r>
            <a:r>
              <a:rPr lang="zh-CN" altLang="zh-CN" sz="2200" dirty="0"/>
              <a:t>卫星公转系统、太阳能板调节</a:t>
            </a:r>
            <a:r>
              <a:rPr lang="zh-CN" altLang="en-US" sz="2200" dirty="0"/>
              <a:t>等；</a:t>
            </a:r>
            <a:endParaRPr lang="en-US" altLang="zh-CN" sz="2200" dirty="0"/>
          </a:p>
          <a:p>
            <a:pPr marL="285750" indent="-285750">
              <a:lnSpc>
                <a:spcPct val="150000"/>
              </a:lnSpc>
              <a:buFont typeface="Wingdings" panose="05000000000000000000" pitchFamily="2" charset="2"/>
              <a:buChar char="l"/>
            </a:pPr>
            <a:r>
              <a:rPr lang="zh-CN" altLang="en-US" sz="2200" dirty="0"/>
              <a:t>传感系统：</a:t>
            </a:r>
            <a:r>
              <a:rPr lang="zh-CN" altLang="zh-CN" sz="2200" dirty="0"/>
              <a:t>感知卫星当前的位置以及感知太阳能帆板的状态</a:t>
            </a:r>
            <a:r>
              <a:rPr lang="zh-CN" altLang="en-US" sz="2200" dirty="0"/>
              <a:t>；</a:t>
            </a:r>
            <a:endParaRPr lang="en-US" altLang="zh-CN" sz="2200" dirty="0"/>
          </a:p>
          <a:p>
            <a:pPr marL="285750" indent="-285750">
              <a:lnSpc>
                <a:spcPct val="150000"/>
              </a:lnSpc>
              <a:buFont typeface="Wingdings" panose="05000000000000000000" pitchFamily="2" charset="2"/>
              <a:buChar char="l"/>
            </a:pPr>
            <a:r>
              <a:rPr lang="zh-CN" altLang="zh-CN" sz="2200" dirty="0"/>
              <a:t>控制系统</a:t>
            </a:r>
            <a:r>
              <a:rPr lang="zh-CN" altLang="en-US" sz="2200" dirty="0"/>
              <a:t>：</a:t>
            </a:r>
            <a:r>
              <a:rPr lang="zh-CN" altLang="zh-CN" sz="2200" dirty="0"/>
              <a:t>整机的中枢系统，主要负责运动机构的驱动控制、传感系统的信息收发、反馈信息的计算支持、交互系统的控制与处理等</a:t>
            </a:r>
            <a:r>
              <a:rPr lang="zh-CN" altLang="en-US" sz="2200" dirty="0"/>
              <a:t>；</a:t>
            </a:r>
            <a:endParaRPr lang="en-US" altLang="zh-CN" sz="2200" dirty="0"/>
          </a:p>
          <a:p>
            <a:pPr marL="285750" indent="-285750">
              <a:lnSpc>
                <a:spcPct val="150000"/>
              </a:lnSpc>
              <a:buFont typeface="Wingdings" panose="05000000000000000000" pitchFamily="2" charset="2"/>
              <a:buChar char="l"/>
            </a:pPr>
            <a:r>
              <a:rPr lang="zh-CN" altLang="zh-CN" sz="2200" dirty="0"/>
              <a:t>交互系统</a:t>
            </a:r>
            <a:r>
              <a:rPr lang="zh-CN" altLang="en-US" sz="2200" dirty="0"/>
              <a:t>：</a:t>
            </a:r>
            <a:r>
              <a:rPr lang="zh-CN" altLang="zh-CN" sz="2200" dirty="0"/>
              <a:t>实现用户层面的操作控制与信息反馈，其主要交互方式为预设动画展示与控制手柄</a:t>
            </a:r>
            <a:r>
              <a:rPr lang="zh-CN" altLang="en-US" sz="2200" dirty="0"/>
              <a:t>。</a:t>
            </a:r>
            <a:endParaRPr lang="en-US" altLang="zh-CN" sz="2200" dirty="0"/>
          </a:p>
          <a:p>
            <a:pPr marL="285750" indent="-285750">
              <a:lnSpc>
                <a:spcPct val="150000"/>
              </a:lnSpc>
              <a:buFont typeface="Wingdings" panose="05000000000000000000" pitchFamily="2" charset="2"/>
              <a:buChar char="l"/>
            </a:pPr>
            <a:endParaRPr lang="zh-CN" altLang="en-US" sz="2200" dirty="0"/>
          </a:p>
        </p:txBody>
      </p:sp>
      <p:sp>
        <p:nvSpPr>
          <p:cNvPr id="3" name="灯片编号占位符 2">
            <a:extLst>
              <a:ext uri="{FF2B5EF4-FFF2-40B4-BE49-F238E27FC236}">
                <a16:creationId xmlns:a16="http://schemas.microsoft.com/office/drawing/2014/main" id="{01BE8FC6-4621-4AD3-BC00-A4C49C3FBCE6}"/>
              </a:ext>
            </a:extLst>
          </p:cNvPr>
          <p:cNvSpPr>
            <a:spLocks noGrp="1"/>
          </p:cNvSpPr>
          <p:nvPr>
            <p:ph type="sldNum" sz="quarter" idx="12"/>
          </p:nvPr>
        </p:nvSpPr>
        <p:spPr/>
        <p:txBody>
          <a:bodyPr/>
          <a:lstStyle/>
          <a:p>
            <a:fld id="{565CE74E-AB26-4998-AD42-012C4C1AD076}" type="slidenum">
              <a:rPr lang="zh-CN" altLang="en-US" smtClean="0"/>
              <a:t>12</a:t>
            </a:fld>
            <a:endParaRPr lang="zh-CN" altLang="en-US"/>
          </a:p>
        </p:txBody>
      </p:sp>
    </p:spTree>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1665"/>
          </a:xfrm>
          <a:prstGeom prst="rect">
            <a:avLst/>
          </a:prstGeom>
          <a:noFill/>
        </p:spPr>
        <p:txBody>
          <a:bodyPr wrap="square">
            <a:spAutoFit/>
          </a:bodyPr>
          <a:lstStyle/>
          <a:p>
            <a:pPr lvl="0">
              <a:defRPr/>
            </a:pPr>
            <a:r>
              <a:rPr lang="en-US" altLang="zh-CN" sz="2400" dirty="0">
                <a:solidFill>
                  <a:prstClr val="white"/>
                </a:solidFill>
                <a:latin typeface="HelveticaExt-Normal"/>
                <a:ea typeface="OPPOSans B"/>
              </a:rPr>
              <a:t>3.2 </a:t>
            </a:r>
            <a:r>
              <a:rPr lang="zh-CN" altLang="zh-CN" sz="2400" dirty="0">
                <a:solidFill>
                  <a:prstClr val="white"/>
                </a:solidFill>
                <a:latin typeface="HelveticaExt-Normal"/>
                <a:ea typeface="OPPOSans B"/>
              </a:rPr>
              <a:t>展品</a:t>
            </a:r>
            <a:r>
              <a:rPr lang="zh-CN" altLang="en-US" sz="2400" dirty="0">
                <a:solidFill>
                  <a:prstClr val="white"/>
                </a:solidFill>
                <a:latin typeface="HelveticaExt-Normal"/>
                <a:ea typeface="OPPOSans B"/>
              </a:rPr>
              <a:t>子</a:t>
            </a:r>
            <a:r>
              <a:rPr lang="zh-CN" altLang="zh-CN" sz="2400" dirty="0">
                <a:solidFill>
                  <a:prstClr val="white"/>
                </a:solidFill>
                <a:latin typeface="HelveticaExt-Normal"/>
                <a:ea typeface="OPPOSans B"/>
              </a:rPr>
              <a:t>功能</a:t>
            </a:r>
            <a:r>
              <a:rPr lang="zh-CN" altLang="en-US" sz="2400" dirty="0">
                <a:solidFill>
                  <a:prstClr val="white"/>
                </a:solidFill>
                <a:latin typeface="HelveticaExt-Normal"/>
                <a:ea typeface="OPPOSans B"/>
              </a:rPr>
              <a:t>实现原理方案比较</a:t>
            </a: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4">
              <a:biLevel thresh="25000"/>
            </a:blip>
            <a:srcRect l="30188"/>
            <a:stretch>
              <a:fillRect/>
            </a:stretch>
          </p:blipFill>
          <p:spPr>
            <a:xfrm>
              <a:off x="10483399" y="211219"/>
              <a:ext cx="1621585" cy="701101"/>
            </a:xfrm>
            <a:prstGeom prst="rect">
              <a:avLst/>
            </a:prstGeom>
          </p:spPr>
        </p:pic>
      </p:grpSp>
      <p:sp>
        <p:nvSpPr>
          <p:cNvPr id="7" name="文本框 6">
            <a:extLst>
              <a:ext uri="{FF2B5EF4-FFF2-40B4-BE49-F238E27FC236}">
                <a16:creationId xmlns:a16="http://schemas.microsoft.com/office/drawing/2014/main" id="{3C99CF63-85EF-3BEE-E80D-8E215EE98239}"/>
              </a:ext>
            </a:extLst>
          </p:cNvPr>
          <p:cNvSpPr txBox="1"/>
          <p:nvPr/>
        </p:nvSpPr>
        <p:spPr>
          <a:xfrm>
            <a:off x="-131694" y="1063993"/>
            <a:ext cx="10724194" cy="490840"/>
          </a:xfrm>
          <a:prstGeom prst="rect">
            <a:avLst/>
          </a:prstGeom>
          <a:noFill/>
        </p:spPr>
        <p:txBody>
          <a:bodyPr wrap="square">
            <a:spAutoFit/>
          </a:bodyPr>
          <a:lstStyle/>
          <a:p>
            <a:pPr indent="304800" algn="just">
              <a:lnSpc>
                <a:spcPct val="150000"/>
              </a:lnSpc>
            </a:pPr>
            <a:r>
              <a:rPr lang="zh-CN" altLang="en-US" sz="2000" kern="100" dirty="0">
                <a:latin typeface="黑体" panose="02010609060101010101" pitchFamily="49" charset="-122"/>
                <a:ea typeface="黑体" panose="02010609060101010101" pitchFamily="49" charset="-122"/>
                <a:cs typeface="Times New Roman" panose="02020603050405020304" pitchFamily="18" charset="0"/>
              </a:rPr>
              <a:t>卫星公转机构：</a:t>
            </a:r>
            <a:endParaRPr lang="zh-CN" altLang="zh-CN" sz="2000" kern="100" dirty="0">
              <a:latin typeface="黑体" panose="02010609060101010101" pitchFamily="49" charset="-122"/>
              <a:ea typeface="黑体" panose="02010609060101010101" pitchFamily="49" charset="-122"/>
              <a:cs typeface="Times New Roman" panose="02020603050405020304" pitchFamily="18" charset="0"/>
            </a:endParaRPr>
          </a:p>
        </p:txBody>
      </p:sp>
      <p:graphicFrame>
        <p:nvGraphicFramePr>
          <p:cNvPr id="2" name="表格 1">
            <a:extLst>
              <a:ext uri="{FF2B5EF4-FFF2-40B4-BE49-F238E27FC236}">
                <a16:creationId xmlns:a16="http://schemas.microsoft.com/office/drawing/2014/main" id="{24A10C4A-CA6E-5A34-8D6E-4E1CB340A779}"/>
              </a:ext>
            </a:extLst>
          </p:cNvPr>
          <p:cNvGraphicFramePr>
            <a:graphicFrameLocks noGrp="1"/>
          </p:cNvGraphicFramePr>
          <p:nvPr>
            <p:extLst>
              <p:ext uri="{D42A27DB-BD31-4B8C-83A1-F6EECF244321}">
                <p14:modId xmlns:p14="http://schemas.microsoft.com/office/powerpoint/2010/main" val="4207331186"/>
              </p:ext>
            </p:extLst>
          </p:nvPr>
        </p:nvGraphicFramePr>
        <p:xfrm>
          <a:off x="1199124" y="1878497"/>
          <a:ext cx="9693964" cy="4082688"/>
        </p:xfrm>
        <a:graphic>
          <a:graphicData uri="http://schemas.openxmlformats.org/drawingml/2006/table">
            <a:tbl>
              <a:tblPr firstRow="1" bandRow="1">
                <a:tableStyleId>{5C22544A-7EE6-4342-B048-85BDC9FD1C3A}</a:tableStyleId>
              </a:tblPr>
              <a:tblGrid>
                <a:gridCol w="2423491">
                  <a:extLst>
                    <a:ext uri="{9D8B030D-6E8A-4147-A177-3AD203B41FA5}">
                      <a16:colId xmlns:a16="http://schemas.microsoft.com/office/drawing/2014/main" val="2960751985"/>
                    </a:ext>
                  </a:extLst>
                </a:gridCol>
                <a:gridCol w="2423491">
                  <a:extLst>
                    <a:ext uri="{9D8B030D-6E8A-4147-A177-3AD203B41FA5}">
                      <a16:colId xmlns:a16="http://schemas.microsoft.com/office/drawing/2014/main" val="2724842575"/>
                    </a:ext>
                  </a:extLst>
                </a:gridCol>
                <a:gridCol w="2423491">
                  <a:extLst>
                    <a:ext uri="{9D8B030D-6E8A-4147-A177-3AD203B41FA5}">
                      <a16:colId xmlns:a16="http://schemas.microsoft.com/office/drawing/2014/main" val="1562208017"/>
                    </a:ext>
                  </a:extLst>
                </a:gridCol>
                <a:gridCol w="2423491">
                  <a:extLst>
                    <a:ext uri="{9D8B030D-6E8A-4147-A177-3AD203B41FA5}">
                      <a16:colId xmlns:a16="http://schemas.microsoft.com/office/drawing/2014/main" val="1715407234"/>
                    </a:ext>
                  </a:extLst>
                </a:gridCol>
              </a:tblGrid>
              <a:tr h="751296">
                <a:tc>
                  <a:txBody>
                    <a:bodyPr/>
                    <a:lstStyle/>
                    <a:p>
                      <a:pPr algn="ctr"/>
                      <a:r>
                        <a:rPr lang="zh-CN" altLang="en-US" sz="2400" dirty="0">
                          <a:solidFill>
                            <a:schemeClr val="bg1"/>
                          </a:solidFill>
                        </a:rPr>
                        <a:t>方案序号</a:t>
                      </a:r>
                    </a:p>
                  </a:txBody>
                  <a:tcPr anchor="ctr"/>
                </a:tc>
                <a:tc>
                  <a:txBody>
                    <a:bodyPr/>
                    <a:lstStyle/>
                    <a:p>
                      <a:pPr algn="ctr"/>
                      <a:r>
                        <a:rPr lang="zh-CN" altLang="en-US" sz="2400" dirty="0">
                          <a:solidFill>
                            <a:schemeClr val="bg1"/>
                          </a:solidFill>
                        </a:rPr>
                        <a:t>方案名称</a:t>
                      </a:r>
                    </a:p>
                  </a:txBody>
                  <a:tcPr anchor="ctr"/>
                </a:tc>
                <a:tc>
                  <a:txBody>
                    <a:bodyPr/>
                    <a:lstStyle/>
                    <a:p>
                      <a:pPr algn="ctr"/>
                      <a:r>
                        <a:rPr lang="zh-CN" altLang="en-US" sz="2400" dirty="0">
                          <a:solidFill>
                            <a:schemeClr val="bg1"/>
                          </a:solidFill>
                        </a:rPr>
                        <a:t>优点</a:t>
                      </a:r>
                    </a:p>
                  </a:txBody>
                  <a:tcPr anchor="ctr"/>
                </a:tc>
                <a:tc>
                  <a:txBody>
                    <a:bodyPr/>
                    <a:lstStyle/>
                    <a:p>
                      <a:pPr algn="ctr"/>
                      <a:r>
                        <a:rPr lang="zh-CN" altLang="en-US" sz="2400" dirty="0">
                          <a:solidFill>
                            <a:schemeClr val="bg1"/>
                          </a:solidFill>
                        </a:rPr>
                        <a:t>缺点</a:t>
                      </a:r>
                    </a:p>
                  </a:txBody>
                  <a:tcPr anchor="ctr"/>
                </a:tc>
                <a:extLst>
                  <a:ext uri="{0D108BD9-81ED-4DB2-BD59-A6C34878D82A}">
                    <a16:rowId xmlns:a16="http://schemas.microsoft.com/office/drawing/2014/main" val="4275149588"/>
                  </a:ext>
                </a:extLst>
              </a:tr>
              <a:tr h="751296">
                <a:tc>
                  <a:txBody>
                    <a:bodyPr/>
                    <a:lstStyle/>
                    <a:p>
                      <a:pPr algn="ctr"/>
                      <a:r>
                        <a:rPr lang="en-US" altLang="zh-CN" sz="2000" dirty="0">
                          <a:solidFill>
                            <a:srgbClr val="FF0000"/>
                          </a:solidFill>
                        </a:rPr>
                        <a:t>1</a:t>
                      </a:r>
                      <a:endParaRPr lang="zh-CN" altLang="en-US" sz="2000" dirty="0">
                        <a:solidFill>
                          <a:srgbClr val="FF0000"/>
                        </a:solidFill>
                      </a:endParaRPr>
                    </a:p>
                  </a:txBody>
                  <a:tcPr anchor="ctr"/>
                </a:tc>
                <a:tc>
                  <a:txBody>
                    <a:bodyPr/>
                    <a:lstStyle/>
                    <a:p>
                      <a:pPr algn="ctr"/>
                      <a:r>
                        <a:rPr lang="zh-CN" altLang="zh-CN" sz="1800" kern="1200" dirty="0">
                          <a:solidFill>
                            <a:srgbClr val="FF0000"/>
                          </a:solidFill>
                          <a:effectLst/>
                          <a:latin typeface="+mn-lt"/>
                          <a:ea typeface="+mn-ea"/>
                          <a:cs typeface="+mn-cs"/>
                        </a:rPr>
                        <a:t>电机控制</a:t>
                      </a:r>
                      <a:endParaRPr lang="zh-CN" altLang="en-US" sz="2000" dirty="0">
                        <a:solidFill>
                          <a:srgbClr val="FF0000"/>
                        </a:solidFill>
                      </a:endParaRPr>
                    </a:p>
                  </a:txBody>
                  <a:tcPr anchor="ctr"/>
                </a:tc>
                <a:tc>
                  <a:txBody>
                    <a:bodyPr/>
                    <a:lstStyle/>
                    <a:p>
                      <a:pPr algn="ctr"/>
                      <a:r>
                        <a:rPr lang="zh-CN" altLang="zh-CN" sz="1800" kern="1200" dirty="0">
                          <a:solidFill>
                            <a:srgbClr val="FF0000"/>
                          </a:solidFill>
                          <a:effectLst/>
                          <a:latin typeface="+mn-lt"/>
                          <a:ea typeface="+mn-ea"/>
                          <a:cs typeface="+mn-cs"/>
                        </a:rPr>
                        <a:t>能够提供精确的角度控制</a:t>
                      </a:r>
                      <a:endParaRPr lang="zh-CN" altLang="en-US" sz="2000" dirty="0">
                        <a:solidFill>
                          <a:srgbClr val="FF0000"/>
                        </a:solidFill>
                      </a:endParaRPr>
                    </a:p>
                  </a:txBody>
                  <a:tcPr anchor="ctr"/>
                </a:tc>
                <a:tc>
                  <a:txBody>
                    <a:bodyPr/>
                    <a:lstStyle/>
                    <a:p>
                      <a:pPr algn="ctr"/>
                      <a:r>
                        <a:rPr lang="zh-CN" altLang="zh-CN" sz="1800" kern="1200" dirty="0">
                          <a:solidFill>
                            <a:srgbClr val="FF0000"/>
                          </a:solidFill>
                          <a:effectLst/>
                          <a:latin typeface="+mn-lt"/>
                          <a:ea typeface="+mn-ea"/>
                          <a:cs typeface="+mn-cs"/>
                        </a:rPr>
                        <a:t>承载能力有限，且机械噪音较大</a:t>
                      </a:r>
                      <a:endParaRPr lang="zh-CN" altLang="en-US" sz="2000" dirty="0">
                        <a:solidFill>
                          <a:srgbClr val="FF0000"/>
                        </a:solidFill>
                      </a:endParaRPr>
                    </a:p>
                  </a:txBody>
                  <a:tcPr anchor="ctr"/>
                </a:tc>
                <a:extLst>
                  <a:ext uri="{0D108BD9-81ED-4DB2-BD59-A6C34878D82A}">
                    <a16:rowId xmlns:a16="http://schemas.microsoft.com/office/drawing/2014/main" val="115690975"/>
                  </a:ext>
                </a:extLst>
              </a:tr>
              <a:tr h="751296">
                <a:tc>
                  <a:txBody>
                    <a:bodyPr/>
                    <a:lstStyle/>
                    <a:p>
                      <a:pPr algn="ctr"/>
                      <a:r>
                        <a:rPr lang="en-US" altLang="zh-CN" sz="2000" dirty="0"/>
                        <a:t>2</a:t>
                      </a:r>
                      <a:endParaRPr lang="zh-CN" altLang="en-US" sz="2000" dirty="0"/>
                    </a:p>
                  </a:txBody>
                  <a:tcPr anchor="ctr"/>
                </a:tc>
                <a:tc>
                  <a:txBody>
                    <a:bodyPr/>
                    <a:lstStyle/>
                    <a:p>
                      <a:pPr algn="ctr"/>
                      <a:r>
                        <a:rPr lang="zh-CN" altLang="zh-CN" sz="1800" kern="1200" dirty="0">
                          <a:solidFill>
                            <a:schemeClr val="dk1"/>
                          </a:solidFill>
                          <a:effectLst/>
                          <a:latin typeface="+mn-lt"/>
                          <a:ea typeface="+mn-ea"/>
                          <a:cs typeface="+mn-cs"/>
                        </a:rPr>
                        <a:t>电动平台控制（如球形或万向节平台）</a:t>
                      </a:r>
                      <a:endParaRPr lang="zh-CN" altLang="en-US" sz="2000" dirty="0"/>
                    </a:p>
                  </a:txBody>
                  <a:tcPr anchor="ctr"/>
                </a:tc>
                <a:tc>
                  <a:txBody>
                    <a:bodyPr/>
                    <a:lstStyle/>
                    <a:p>
                      <a:pPr algn="ctr"/>
                      <a:r>
                        <a:rPr lang="zh-CN" altLang="zh-CN" sz="1800" kern="1200">
                          <a:solidFill>
                            <a:schemeClr val="dk1"/>
                          </a:solidFill>
                          <a:effectLst/>
                          <a:latin typeface="+mn-lt"/>
                          <a:ea typeface="+mn-ea"/>
                          <a:cs typeface="+mn-cs"/>
                        </a:rPr>
                        <a:t>能够控制多方向运动，便于直观展示</a:t>
                      </a:r>
                      <a:endParaRPr lang="zh-CN" altLang="en-US" sz="2000"/>
                    </a:p>
                  </a:txBody>
                  <a:tcPr anchor="ctr"/>
                </a:tc>
                <a:tc>
                  <a:txBody>
                    <a:bodyPr/>
                    <a:lstStyle/>
                    <a:p>
                      <a:pPr algn="ctr"/>
                      <a:r>
                        <a:rPr lang="zh-CN" altLang="zh-CN" sz="1800" kern="1200" dirty="0">
                          <a:solidFill>
                            <a:schemeClr val="dk1"/>
                          </a:solidFill>
                          <a:effectLst/>
                          <a:latin typeface="+mn-lt"/>
                          <a:ea typeface="+mn-ea"/>
                          <a:cs typeface="+mn-cs"/>
                        </a:rPr>
                        <a:t>成本较高，结构较复杂，且维护较为复杂</a:t>
                      </a:r>
                      <a:endParaRPr lang="zh-CN" altLang="en-US" sz="2000" dirty="0"/>
                    </a:p>
                  </a:txBody>
                  <a:tcPr anchor="ctr"/>
                </a:tc>
                <a:extLst>
                  <a:ext uri="{0D108BD9-81ED-4DB2-BD59-A6C34878D82A}">
                    <a16:rowId xmlns:a16="http://schemas.microsoft.com/office/drawing/2014/main" val="10973212"/>
                  </a:ext>
                </a:extLst>
              </a:tr>
              <a:tr h="751296">
                <a:tc>
                  <a:txBody>
                    <a:bodyPr/>
                    <a:lstStyle/>
                    <a:p>
                      <a:pPr algn="ctr"/>
                      <a:r>
                        <a:rPr lang="en-US" altLang="zh-CN" sz="2000" dirty="0"/>
                        <a:t>3</a:t>
                      </a:r>
                      <a:endParaRPr lang="zh-CN" altLang="en-US" sz="2000" dirty="0"/>
                    </a:p>
                  </a:txBody>
                  <a:tcPr anchor="ctr"/>
                </a:tc>
                <a:tc>
                  <a:txBody>
                    <a:bodyPr/>
                    <a:lstStyle/>
                    <a:p>
                      <a:pPr algn="ctr"/>
                      <a:r>
                        <a:rPr lang="zh-CN" altLang="zh-CN" sz="1800" kern="1200" dirty="0">
                          <a:solidFill>
                            <a:schemeClr val="dk1"/>
                          </a:solidFill>
                          <a:effectLst/>
                          <a:latin typeface="+mn-lt"/>
                          <a:ea typeface="+mn-ea"/>
                          <a:cs typeface="+mn-cs"/>
                        </a:rPr>
                        <a:t>机械臂控制</a:t>
                      </a:r>
                      <a:endParaRPr lang="zh-CN" altLang="en-US" sz="2000" dirty="0"/>
                    </a:p>
                  </a:txBody>
                  <a:tcPr anchor="ctr"/>
                </a:tc>
                <a:tc>
                  <a:txBody>
                    <a:bodyPr/>
                    <a:lstStyle/>
                    <a:p>
                      <a:pPr algn="ctr"/>
                      <a:r>
                        <a:rPr lang="zh-CN" altLang="zh-CN" sz="1800" kern="1200" dirty="0">
                          <a:solidFill>
                            <a:schemeClr val="dk1"/>
                          </a:solidFill>
                          <a:effectLst/>
                          <a:latin typeface="+mn-lt"/>
                          <a:ea typeface="+mn-ea"/>
                          <a:cs typeface="+mn-cs"/>
                        </a:rPr>
                        <a:t>能够实现较为复杂和精确的运动，且有多种类型和规格可选</a:t>
                      </a:r>
                      <a:endParaRPr lang="zh-CN" altLang="en-US" sz="2000" dirty="0"/>
                    </a:p>
                  </a:txBody>
                  <a:tcPr anchor="ctr"/>
                </a:tc>
                <a:tc>
                  <a:txBody>
                    <a:bodyPr/>
                    <a:lstStyle/>
                    <a:p>
                      <a:pPr algn="ctr"/>
                      <a:r>
                        <a:rPr lang="zh-CN" altLang="zh-CN" sz="1800" kern="1200" dirty="0">
                          <a:solidFill>
                            <a:schemeClr val="dk1"/>
                          </a:solidFill>
                          <a:effectLst/>
                          <a:latin typeface="+mn-lt"/>
                          <a:ea typeface="+mn-ea"/>
                          <a:cs typeface="+mn-cs"/>
                        </a:rPr>
                        <a:t>需要较大操作空间，同时成本、技术要求较高</a:t>
                      </a:r>
                      <a:endParaRPr lang="zh-CN" altLang="en-US" sz="2000" dirty="0"/>
                    </a:p>
                  </a:txBody>
                  <a:tcPr anchor="ctr"/>
                </a:tc>
                <a:extLst>
                  <a:ext uri="{0D108BD9-81ED-4DB2-BD59-A6C34878D82A}">
                    <a16:rowId xmlns:a16="http://schemas.microsoft.com/office/drawing/2014/main" val="3608560885"/>
                  </a:ext>
                </a:extLst>
              </a:tr>
              <a:tr h="751296">
                <a:tc>
                  <a:txBody>
                    <a:bodyPr/>
                    <a:lstStyle/>
                    <a:p>
                      <a:pPr algn="ctr"/>
                      <a:r>
                        <a:rPr lang="en-US" altLang="zh-CN" sz="2000" dirty="0"/>
                        <a:t>4</a:t>
                      </a:r>
                      <a:endParaRPr lang="zh-CN" altLang="en-US" sz="2000" dirty="0"/>
                    </a:p>
                  </a:txBody>
                  <a:tcPr anchor="ctr"/>
                </a:tc>
                <a:tc>
                  <a:txBody>
                    <a:bodyPr/>
                    <a:lstStyle/>
                    <a:p>
                      <a:pPr algn="ctr"/>
                      <a:r>
                        <a:rPr lang="zh-CN" altLang="zh-CN" sz="1800" kern="1200" dirty="0">
                          <a:solidFill>
                            <a:schemeClr val="dk1"/>
                          </a:solidFill>
                          <a:effectLst/>
                          <a:latin typeface="+mn-lt"/>
                          <a:ea typeface="+mn-ea"/>
                          <a:cs typeface="+mn-cs"/>
                        </a:rPr>
                        <a:t>液压或气压控制</a:t>
                      </a:r>
                      <a:endParaRPr lang="zh-CN" altLang="en-US" sz="2000" dirty="0"/>
                    </a:p>
                  </a:txBody>
                  <a:tcPr anchor="ctr"/>
                </a:tc>
                <a:tc>
                  <a:txBody>
                    <a:bodyPr/>
                    <a:lstStyle/>
                    <a:p>
                      <a:pPr algn="ctr"/>
                      <a:r>
                        <a:rPr lang="zh-CN" altLang="zh-CN" sz="1800" kern="1200" dirty="0">
                          <a:solidFill>
                            <a:schemeClr val="dk1"/>
                          </a:solidFill>
                          <a:effectLst/>
                          <a:latin typeface="+mn-lt"/>
                          <a:ea typeface="+mn-ea"/>
                          <a:cs typeface="+mn-cs"/>
                        </a:rPr>
                        <a:t>能够驱动大型或重型模型，且能够快速响应控制信号</a:t>
                      </a:r>
                      <a:endParaRPr lang="zh-CN" altLang="en-US" sz="2000" dirty="0"/>
                    </a:p>
                  </a:txBody>
                  <a:tcPr anchor="ctr"/>
                </a:tc>
                <a:tc>
                  <a:txBody>
                    <a:bodyPr/>
                    <a:lstStyle/>
                    <a:p>
                      <a:pPr algn="ctr"/>
                      <a:r>
                        <a:rPr lang="zh-CN" altLang="zh-CN" sz="1800" kern="1200" dirty="0">
                          <a:solidFill>
                            <a:schemeClr val="dk1"/>
                          </a:solidFill>
                          <a:effectLst/>
                          <a:latin typeface="+mn-lt"/>
                          <a:ea typeface="+mn-ea"/>
                          <a:cs typeface="+mn-cs"/>
                        </a:rPr>
                        <a:t>系统复杂，维护性较差，且能耗较大，成本较高</a:t>
                      </a:r>
                      <a:endParaRPr lang="zh-CN" altLang="en-US" sz="2000" dirty="0"/>
                    </a:p>
                  </a:txBody>
                  <a:tcPr anchor="ctr"/>
                </a:tc>
                <a:extLst>
                  <a:ext uri="{0D108BD9-81ED-4DB2-BD59-A6C34878D82A}">
                    <a16:rowId xmlns:a16="http://schemas.microsoft.com/office/drawing/2014/main" val="2634354893"/>
                  </a:ext>
                </a:extLst>
              </a:tr>
            </a:tbl>
          </a:graphicData>
        </a:graphic>
      </p:graphicFrame>
      <p:sp>
        <p:nvSpPr>
          <p:cNvPr id="4" name="灯片编号占位符 3">
            <a:extLst>
              <a:ext uri="{FF2B5EF4-FFF2-40B4-BE49-F238E27FC236}">
                <a16:creationId xmlns:a16="http://schemas.microsoft.com/office/drawing/2014/main" id="{1A61F850-75DC-48DD-821C-EBCAFEA23313}"/>
              </a:ext>
            </a:extLst>
          </p:cNvPr>
          <p:cNvSpPr>
            <a:spLocks noGrp="1"/>
          </p:cNvSpPr>
          <p:nvPr>
            <p:ph type="sldNum" sz="quarter" idx="12"/>
          </p:nvPr>
        </p:nvSpPr>
        <p:spPr/>
        <p:txBody>
          <a:bodyPr/>
          <a:lstStyle/>
          <a:p>
            <a:fld id="{565CE74E-AB26-4998-AD42-012C4C1AD076}" type="slidenum">
              <a:rPr lang="zh-CN" altLang="en-US" smtClean="0"/>
              <a:t>13</a:t>
            </a:fld>
            <a:endParaRPr lang="zh-CN" altLang="en-US"/>
          </a:p>
        </p:txBody>
      </p:sp>
    </p:spTree>
    <p:extLst>
      <p:ext uri="{BB962C8B-B14F-4D97-AF65-F5344CB8AC3E}">
        <p14:creationId xmlns:p14="http://schemas.microsoft.com/office/powerpoint/2010/main" val="351260895"/>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1665"/>
          </a:xfrm>
          <a:prstGeom prst="rect">
            <a:avLst/>
          </a:prstGeom>
          <a:noFill/>
        </p:spPr>
        <p:txBody>
          <a:bodyPr wrap="square">
            <a:spAutoFit/>
          </a:bodyPr>
          <a:lstStyle/>
          <a:p>
            <a:pPr lvl="0">
              <a:defRPr/>
            </a:pPr>
            <a:r>
              <a:rPr lang="en-US" altLang="zh-CN" sz="2400" dirty="0">
                <a:solidFill>
                  <a:prstClr val="white"/>
                </a:solidFill>
                <a:latin typeface="HelveticaExt-Normal"/>
                <a:ea typeface="OPPOSans B"/>
              </a:rPr>
              <a:t>3.2 </a:t>
            </a:r>
            <a:r>
              <a:rPr lang="zh-CN" altLang="zh-CN" sz="2400" dirty="0">
                <a:solidFill>
                  <a:prstClr val="white"/>
                </a:solidFill>
                <a:latin typeface="HelveticaExt-Normal"/>
                <a:ea typeface="OPPOSans B"/>
              </a:rPr>
              <a:t>展品</a:t>
            </a:r>
            <a:r>
              <a:rPr lang="zh-CN" altLang="en-US" sz="2400" dirty="0">
                <a:solidFill>
                  <a:prstClr val="white"/>
                </a:solidFill>
                <a:latin typeface="HelveticaExt-Normal"/>
                <a:ea typeface="OPPOSans B"/>
              </a:rPr>
              <a:t>子</a:t>
            </a:r>
            <a:r>
              <a:rPr lang="zh-CN" altLang="zh-CN" sz="2400" dirty="0">
                <a:solidFill>
                  <a:prstClr val="white"/>
                </a:solidFill>
                <a:latin typeface="HelveticaExt-Normal"/>
                <a:ea typeface="OPPOSans B"/>
              </a:rPr>
              <a:t>功能</a:t>
            </a:r>
            <a:r>
              <a:rPr lang="zh-CN" altLang="en-US" sz="2400" dirty="0">
                <a:solidFill>
                  <a:prstClr val="white"/>
                </a:solidFill>
                <a:latin typeface="HelveticaExt-Normal"/>
                <a:ea typeface="OPPOSans B"/>
              </a:rPr>
              <a:t>实现原理方案比较</a:t>
            </a: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4">
              <a:biLevel thresh="25000"/>
            </a:blip>
            <a:srcRect l="30188"/>
            <a:stretch>
              <a:fillRect/>
            </a:stretch>
          </p:blipFill>
          <p:spPr>
            <a:xfrm>
              <a:off x="10483399" y="211219"/>
              <a:ext cx="1621585" cy="701101"/>
            </a:xfrm>
            <a:prstGeom prst="rect">
              <a:avLst/>
            </a:prstGeom>
          </p:spPr>
        </p:pic>
      </p:grpSp>
      <p:sp>
        <p:nvSpPr>
          <p:cNvPr id="7" name="文本框 6">
            <a:extLst>
              <a:ext uri="{FF2B5EF4-FFF2-40B4-BE49-F238E27FC236}">
                <a16:creationId xmlns:a16="http://schemas.microsoft.com/office/drawing/2014/main" id="{3C99CF63-85EF-3BEE-E80D-8E215EE98239}"/>
              </a:ext>
            </a:extLst>
          </p:cNvPr>
          <p:cNvSpPr txBox="1"/>
          <p:nvPr/>
        </p:nvSpPr>
        <p:spPr>
          <a:xfrm>
            <a:off x="-131694" y="1063993"/>
            <a:ext cx="10724194" cy="490840"/>
          </a:xfrm>
          <a:prstGeom prst="rect">
            <a:avLst/>
          </a:prstGeom>
          <a:noFill/>
        </p:spPr>
        <p:txBody>
          <a:bodyPr wrap="square">
            <a:spAutoFit/>
          </a:bodyPr>
          <a:lstStyle/>
          <a:p>
            <a:pPr indent="304800" algn="just">
              <a:lnSpc>
                <a:spcPct val="150000"/>
              </a:lnSpc>
            </a:pPr>
            <a:r>
              <a:rPr lang="zh-CN" altLang="zh-CN" sz="2000" kern="100" dirty="0">
                <a:latin typeface="黑体" panose="02010609060101010101" pitchFamily="49" charset="-122"/>
                <a:ea typeface="黑体" panose="02010609060101010101" pitchFamily="49" charset="-122"/>
                <a:cs typeface="Times New Roman" panose="02020603050405020304" pitchFamily="18" charset="0"/>
              </a:rPr>
              <a:t>太阳能帆板位姿调节机构</a:t>
            </a:r>
            <a:r>
              <a:rPr lang="zh-CN" altLang="en-US" sz="2000" kern="100" dirty="0">
                <a:latin typeface="黑体" panose="02010609060101010101" pitchFamily="49" charset="-122"/>
                <a:ea typeface="黑体" panose="02010609060101010101" pitchFamily="49" charset="-122"/>
                <a:cs typeface="Times New Roman" panose="02020603050405020304" pitchFamily="18" charset="0"/>
              </a:rPr>
              <a:t>：</a:t>
            </a:r>
            <a:endParaRPr lang="zh-CN" altLang="zh-CN" sz="2000" kern="100" dirty="0">
              <a:latin typeface="黑体" panose="02010609060101010101" pitchFamily="49" charset="-122"/>
              <a:ea typeface="黑体" panose="02010609060101010101" pitchFamily="49" charset="-122"/>
              <a:cs typeface="Times New Roman" panose="02020603050405020304" pitchFamily="18" charset="0"/>
            </a:endParaRPr>
          </a:p>
        </p:txBody>
      </p:sp>
      <p:graphicFrame>
        <p:nvGraphicFramePr>
          <p:cNvPr id="2" name="表格 1">
            <a:extLst>
              <a:ext uri="{FF2B5EF4-FFF2-40B4-BE49-F238E27FC236}">
                <a16:creationId xmlns:a16="http://schemas.microsoft.com/office/drawing/2014/main" id="{24A10C4A-CA6E-5A34-8D6E-4E1CB340A779}"/>
              </a:ext>
            </a:extLst>
          </p:cNvPr>
          <p:cNvGraphicFramePr>
            <a:graphicFrameLocks noGrp="1"/>
          </p:cNvGraphicFramePr>
          <p:nvPr>
            <p:extLst>
              <p:ext uri="{D42A27DB-BD31-4B8C-83A1-F6EECF244321}">
                <p14:modId xmlns:p14="http://schemas.microsoft.com/office/powerpoint/2010/main" val="3525268920"/>
              </p:ext>
            </p:extLst>
          </p:nvPr>
        </p:nvGraphicFramePr>
        <p:xfrm>
          <a:off x="1199124" y="1840502"/>
          <a:ext cx="9693964" cy="3494496"/>
        </p:xfrm>
        <a:graphic>
          <a:graphicData uri="http://schemas.openxmlformats.org/drawingml/2006/table">
            <a:tbl>
              <a:tblPr firstRow="1" bandRow="1">
                <a:tableStyleId>{5C22544A-7EE6-4342-B048-85BDC9FD1C3A}</a:tableStyleId>
              </a:tblPr>
              <a:tblGrid>
                <a:gridCol w="2423491">
                  <a:extLst>
                    <a:ext uri="{9D8B030D-6E8A-4147-A177-3AD203B41FA5}">
                      <a16:colId xmlns:a16="http://schemas.microsoft.com/office/drawing/2014/main" val="2960751985"/>
                    </a:ext>
                  </a:extLst>
                </a:gridCol>
                <a:gridCol w="2010808">
                  <a:extLst>
                    <a:ext uri="{9D8B030D-6E8A-4147-A177-3AD203B41FA5}">
                      <a16:colId xmlns:a16="http://schemas.microsoft.com/office/drawing/2014/main" val="2724842575"/>
                    </a:ext>
                  </a:extLst>
                </a:gridCol>
                <a:gridCol w="2836174">
                  <a:extLst>
                    <a:ext uri="{9D8B030D-6E8A-4147-A177-3AD203B41FA5}">
                      <a16:colId xmlns:a16="http://schemas.microsoft.com/office/drawing/2014/main" val="1562208017"/>
                    </a:ext>
                  </a:extLst>
                </a:gridCol>
                <a:gridCol w="2423491">
                  <a:extLst>
                    <a:ext uri="{9D8B030D-6E8A-4147-A177-3AD203B41FA5}">
                      <a16:colId xmlns:a16="http://schemas.microsoft.com/office/drawing/2014/main" val="1715407234"/>
                    </a:ext>
                  </a:extLst>
                </a:gridCol>
              </a:tblGrid>
              <a:tr h="751296">
                <a:tc>
                  <a:txBody>
                    <a:bodyPr/>
                    <a:lstStyle/>
                    <a:p>
                      <a:pPr algn="ctr"/>
                      <a:r>
                        <a:rPr lang="zh-CN" altLang="en-US" sz="2400" dirty="0">
                          <a:solidFill>
                            <a:schemeClr val="bg1"/>
                          </a:solidFill>
                        </a:rPr>
                        <a:t>方案序号</a:t>
                      </a:r>
                    </a:p>
                  </a:txBody>
                  <a:tcPr anchor="ctr"/>
                </a:tc>
                <a:tc>
                  <a:txBody>
                    <a:bodyPr/>
                    <a:lstStyle/>
                    <a:p>
                      <a:pPr algn="ctr"/>
                      <a:r>
                        <a:rPr lang="zh-CN" altLang="en-US" sz="2400" dirty="0">
                          <a:solidFill>
                            <a:schemeClr val="bg1"/>
                          </a:solidFill>
                        </a:rPr>
                        <a:t>方案名称</a:t>
                      </a:r>
                    </a:p>
                  </a:txBody>
                  <a:tcPr anchor="ctr"/>
                </a:tc>
                <a:tc>
                  <a:txBody>
                    <a:bodyPr/>
                    <a:lstStyle/>
                    <a:p>
                      <a:pPr algn="ctr"/>
                      <a:r>
                        <a:rPr lang="zh-CN" altLang="en-US" sz="2400" dirty="0">
                          <a:solidFill>
                            <a:schemeClr val="bg1"/>
                          </a:solidFill>
                        </a:rPr>
                        <a:t>优点</a:t>
                      </a:r>
                    </a:p>
                  </a:txBody>
                  <a:tcPr anchor="ctr"/>
                </a:tc>
                <a:tc>
                  <a:txBody>
                    <a:bodyPr/>
                    <a:lstStyle/>
                    <a:p>
                      <a:pPr algn="ctr"/>
                      <a:r>
                        <a:rPr lang="zh-CN" altLang="en-US" sz="2400" dirty="0">
                          <a:solidFill>
                            <a:schemeClr val="bg1"/>
                          </a:solidFill>
                        </a:rPr>
                        <a:t>缺点</a:t>
                      </a:r>
                    </a:p>
                  </a:txBody>
                  <a:tcPr anchor="ctr"/>
                </a:tc>
                <a:extLst>
                  <a:ext uri="{0D108BD9-81ED-4DB2-BD59-A6C34878D82A}">
                    <a16:rowId xmlns:a16="http://schemas.microsoft.com/office/drawing/2014/main" val="4275149588"/>
                  </a:ext>
                </a:extLst>
              </a:tr>
              <a:tr h="751296">
                <a:tc>
                  <a:txBody>
                    <a:bodyPr/>
                    <a:lstStyle/>
                    <a:p>
                      <a:pPr algn="ctr"/>
                      <a:r>
                        <a:rPr lang="en-US" altLang="zh-CN" sz="2000" dirty="0">
                          <a:solidFill>
                            <a:srgbClr val="FF0000"/>
                          </a:solidFill>
                        </a:rPr>
                        <a:t>1</a:t>
                      </a:r>
                      <a:endParaRPr lang="zh-CN" altLang="en-US" sz="2000" dirty="0">
                        <a:solidFill>
                          <a:srgbClr val="FF0000"/>
                        </a:solidFill>
                      </a:endParaRPr>
                    </a:p>
                  </a:txBody>
                  <a:tcPr anchor="ctr"/>
                </a:tc>
                <a:tc>
                  <a:txBody>
                    <a:bodyPr/>
                    <a:lstStyle/>
                    <a:p>
                      <a:pPr algn="ctr"/>
                      <a:r>
                        <a:rPr lang="zh-CN" altLang="zh-CN" sz="1800" kern="1200" dirty="0">
                          <a:solidFill>
                            <a:srgbClr val="FF0000"/>
                          </a:solidFill>
                          <a:effectLst/>
                          <a:latin typeface="+mn-lt"/>
                          <a:ea typeface="+mn-ea"/>
                          <a:cs typeface="+mn-cs"/>
                        </a:rPr>
                        <a:t>舵机控制</a:t>
                      </a:r>
                      <a:endParaRPr lang="zh-CN" altLang="en-US" sz="2000" dirty="0">
                        <a:solidFill>
                          <a:srgbClr val="FF0000"/>
                        </a:solidFill>
                      </a:endParaRPr>
                    </a:p>
                  </a:txBody>
                  <a:tcPr anchor="ctr"/>
                </a:tc>
                <a:tc>
                  <a:txBody>
                    <a:bodyPr/>
                    <a:lstStyle/>
                    <a:p>
                      <a:pPr algn="ctr"/>
                      <a:r>
                        <a:rPr lang="zh-CN" altLang="zh-CN" sz="1800" kern="1200" dirty="0">
                          <a:solidFill>
                            <a:srgbClr val="FF0000"/>
                          </a:solidFill>
                          <a:effectLst/>
                          <a:latin typeface="+mn-lt"/>
                          <a:ea typeface="+mn-ea"/>
                          <a:cs typeface="+mn-cs"/>
                        </a:rPr>
                        <a:t>精确调节，同时易于集成和编程</a:t>
                      </a:r>
                      <a:endParaRPr lang="zh-CN" altLang="en-US" sz="2000" dirty="0">
                        <a:solidFill>
                          <a:srgbClr val="FF0000"/>
                        </a:solidFill>
                      </a:endParaRPr>
                    </a:p>
                  </a:txBody>
                  <a:tcPr anchor="ctr"/>
                </a:tc>
                <a:tc>
                  <a:txBody>
                    <a:bodyPr/>
                    <a:lstStyle/>
                    <a:p>
                      <a:pPr algn="ctr"/>
                      <a:r>
                        <a:rPr lang="zh-CN" altLang="zh-CN" sz="1800" kern="1200" dirty="0">
                          <a:solidFill>
                            <a:srgbClr val="FF0000"/>
                          </a:solidFill>
                          <a:effectLst/>
                          <a:latin typeface="+mn-lt"/>
                          <a:ea typeface="+mn-ea"/>
                          <a:cs typeface="+mn-cs"/>
                        </a:rPr>
                        <a:t>承载能力</a:t>
                      </a:r>
                      <a:r>
                        <a:rPr lang="zh-CN" altLang="en-US" sz="1800" kern="1200" dirty="0">
                          <a:solidFill>
                            <a:srgbClr val="FF0000"/>
                          </a:solidFill>
                          <a:effectLst/>
                          <a:latin typeface="+mn-lt"/>
                          <a:ea typeface="+mn-ea"/>
                          <a:cs typeface="+mn-cs"/>
                        </a:rPr>
                        <a:t>有限</a:t>
                      </a:r>
                      <a:r>
                        <a:rPr lang="zh-CN" altLang="zh-CN" sz="1800" kern="1200" dirty="0">
                          <a:solidFill>
                            <a:srgbClr val="FF0000"/>
                          </a:solidFill>
                          <a:effectLst/>
                          <a:latin typeface="+mn-lt"/>
                          <a:ea typeface="+mn-ea"/>
                          <a:cs typeface="+mn-cs"/>
                        </a:rPr>
                        <a:t>，同时会产生</a:t>
                      </a:r>
                      <a:r>
                        <a:rPr lang="zh-CN" altLang="en-US" sz="1800" kern="1200" dirty="0">
                          <a:solidFill>
                            <a:srgbClr val="FF0000"/>
                          </a:solidFill>
                          <a:effectLst/>
                          <a:latin typeface="+mn-lt"/>
                          <a:ea typeface="+mn-ea"/>
                          <a:cs typeface="+mn-cs"/>
                        </a:rPr>
                        <a:t>一定的</a:t>
                      </a:r>
                      <a:r>
                        <a:rPr lang="zh-CN" altLang="zh-CN" sz="1800" kern="1200" dirty="0">
                          <a:solidFill>
                            <a:srgbClr val="FF0000"/>
                          </a:solidFill>
                          <a:effectLst/>
                          <a:latin typeface="+mn-lt"/>
                          <a:ea typeface="+mn-ea"/>
                          <a:cs typeface="+mn-cs"/>
                        </a:rPr>
                        <a:t>噪音和磨损</a:t>
                      </a:r>
                      <a:endParaRPr lang="zh-CN" altLang="en-US" sz="2000" dirty="0">
                        <a:solidFill>
                          <a:srgbClr val="FF0000"/>
                        </a:solidFill>
                      </a:endParaRPr>
                    </a:p>
                  </a:txBody>
                  <a:tcPr anchor="ctr"/>
                </a:tc>
                <a:extLst>
                  <a:ext uri="{0D108BD9-81ED-4DB2-BD59-A6C34878D82A}">
                    <a16:rowId xmlns:a16="http://schemas.microsoft.com/office/drawing/2014/main" val="115690975"/>
                  </a:ext>
                </a:extLst>
              </a:tr>
              <a:tr h="751296">
                <a:tc>
                  <a:txBody>
                    <a:bodyPr/>
                    <a:lstStyle/>
                    <a:p>
                      <a:pPr algn="ctr"/>
                      <a:r>
                        <a:rPr lang="en-US" altLang="zh-CN" sz="2000" dirty="0"/>
                        <a:t>2</a:t>
                      </a:r>
                      <a:endParaRPr lang="zh-CN" altLang="en-US" sz="2000" dirty="0"/>
                    </a:p>
                  </a:txBody>
                  <a:tcPr anchor="ctr"/>
                </a:tc>
                <a:tc>
                  <a:txBody>
                    <a:bodyPr/>
                    <a:lstStyle/>
                    <a:p>
                      <a:pPr algn="ctr"/>
                      <a:r>
                        <a:rPr lang="zh-CN" altLang="zh-CN" sz="1800" kern="1200" dirty="0">
                          <a:solidFill>
                            <a:schemeClr val="dk1"/>
                          </a:solidFill>
                          <a:effectLst/>
                          <a:latin typeface="+mn-lt"/>
                          <a:ea typeface="+mn-ea"/>
                          <a:cs typeface="+mn-cs"/>
                        </a:rPr>
                        <a:t>线性致动器</a:t>
                      </a:r>
                      <a:endParaRPr lang="zh-CN" altLang="en-US" sz="2000" dirty="0"/>
                    </a:p>
                  </a:txBody>
                  <a:tcPr anchor="ctr"/>
                </a:tc>
                <a:tc>
                  <a:txBody>
                    <a:bodyPr/>
                    <a:lstStyle/>
                    <a:p>
                      <a:pPr algn="ctr"/>
                      <a:r>
                        <a:rPr lang="zh-CN" altLang="zh-CN" sz="1800" kern="1200" dirty="0">
                          <a:solidFill>
                            <a:schemeClr val="dk1"/>
                          </a:solidFill>
                          <a:effectLst/>
                          <a:latin typeface="+mn-lt"/>
                          <a:ea typeface="+mn-ea"/>
                          <a:cs typeface="+mn-cs"/>
                        </a:rPr>
                        <a:t>可以提供直接的推力，适用于较大的帆板，同时其结构更为简单和直接</a:t>
                      </a:r>
                      <a:endParaRPr lang="zh-CN" altLang="en-US" sz="2000" dirty="0"/>
                    </a:p>
                  </a:txBody>
                  <a:tcPr anchor="ctr"/>
                </a:tc>
                <a:tc>
                  <a:txBody>
                    <a:bodyPr/>
                    <a:lstStyle/>
                    <a:p>
                      <a:pPr algn="ctr"/>
                      <a:r>
                        <a:rPr lang="zh-CN" altLang="zh-CN" sz="1800" kern="1200" dirty="0">
                          <a:solidFill>
                            <a:schemeClr val="dk1"/>
                          </a:solidFill>
                          <a:effectLst/>
                          <a:latin typeface="+mn-lt"/>
                          <a:ea typeface="+mn-ea"/>
                          <a:cs typeface="+mn-cs"/>
                        </a:rPr>
                        <a:t>运动范围受限，且速度较慢</a:t>
                      </a:r>
                      <a:endParaRPr lang="zh-CN" altLang="en-US" sz="2000" dirty="0"/>
                    </a:p>
                  </a:txBody>
                  <a:tcPr anchor="ctr"/>
                </a:tc>
                <a:extLst>
                  <a:ext uri="{0D108BD9-81ED-4DB2-BD59-A6C34878D82A}">
                    <a16:rowId xmlns:a16="http://schemas.microsoft.com/office/drawing/2014/main" val="10973212"/>
                  </a:ext>
                </a:extLst>
              </a:tr>
              <a:tr h="751296">
                <a:tc>
                  <a:txBody>
                    <a:bodyPr/>
                    <a:lstStyle/>
                    <a:p>
                      <a:pPr algn="ctr"/>
                      <a:r>
                        <a:rPr lang="en-US" altLang="zh-CN" sz="2000" dirty="0"/>
                        <a:t>3</a:t>
                      </a:r>
                      <a:endParaRPr lang="zh-CN" altLang="en-US" sz="2000" dirty="0"/>
                    </a:p>
                  </a:txBody>
                  <a:tcPr anchor="ctr"/>
                </a:tc>
                <a:tc>
                  <a:txBody>
                    <a:bodyPr/>
                    <a:lstStyle/>
                    <a:p>
                      <a:pPr algn="ctr"/>
                      <a:r>
                        <a:rPr lang="zh-CN" altLang="zh-CN" sz="1800" kern="1200" dirty="0">
                          <a:solidFill>
                            <a:schemeClr val="dk1"/>
                          </a:solidFill>
                          <a:effectLst/>
                          <a:latin typeface="+mn-lt"/>
                          <a:ea typeface="+mn-ea"/>
                          <a:cs typeface="+mn-cs"/>
                        </a:rPr>
                        <a:t>电磁系统</a:t>
                      </a:r>
                      <a:endParaRPr lang="zh-CN" altLang="en-US" sz="2000" dirty="0"/>
                    </a:p>
                  </a:txBody>
                  <a:tcPr anchor="ctr"/>
                </a:tc>
                <a:tc>
                  <a:txBody>
                    <a:bodyPr/>
                    <a:lstStyle/>
                    <a:p>
                      <a:pPr algn="ctr"/>
                      <a:r>
                        <a:rPr lang="zh-CN" altLang="zh-CN" sz="1800" kern="1200" dirty="0">
                          <a:solidFill>
                            <a:schemeClr val="dk1"/>
                          </a:solidFill>
                          <a:effectLst/>
                          <a:latin typeface="+mn-lt"/>
                          <a:ea typeface="+mn-ea"/>
                          <a:cs typeface="+mn-cs"/>
                        </a:rPr>
                        <a:t>调节不需接触，可减少摩擦，同时响应速度较快</a:t>
                      </a:r>
                      <a:endParaRPr lang="zh-CN" altLang="en-US" sz="2000" dirty="0"/>
                    </a:p>
                  </a:txBody>
                  <a:tcPr anchor="ctr"/>
                </a:tc>
                <a:tc>
                  <a:txBody>
                    <a:bodyPr/>
                    <a:lstStyle/>
                    <a:p>
                      <a:pPr algn="ctr"/>
                      <a:r>
                        <a:rPr lang="zh-CN" altLang="zh-CN" sz="1800" kern="1200" dirty="0">
                          <a:solidFill>
                            <a:schemeClr val="dk1"/>
                          </a:solidFill>
                          <a:effectLst/>
                          <a:latin typeface="+mn-lt"/>
                          <a:ea typeface="+mn-ea"/>
                          <a:cs typeface="+mn-cs"/>
                        </a:rPr>
                        <a:t>能耗较高，同时技术复杂度较高，实现难度较大，维护性较差</a:t>
                      </a:r>
                      <a:endParaRPr lang="zh-CN" altLang="en-US" sz="2000" dirty="0"/>
                    </a:p>
                  </a:txBody>
                  <a:tcPr anchor="ctr"/>
                </a:tc>
                <a:extLst>
                  <a:ext uri="{0D108BD9-81ED-4DB2-BD59-A6C34878D82A}">
                    <a16:rowId xmlns:a16="http://schemas.microsoft.com/office/drawing/2014/main" val="3608560885"/>
                  </a:ext>
                </a:extLst>
              </a:tr>
            </a:tbl>
          </a:graphicData>
        </a:graphic>
      </p:graphicFrame>
      <p:sp>
        <p:nvSpPr>
          <p:cNvPr id="4" name="灯片编号占位符 3">
            <a:extLst>
              <a:ext uri="{FF2B5EF4-FFF2-40B4-BE49-F238E27FC236}">
                <a16:creationId xmlns:a16="http://schemas.microsoft.com/office/drawing/2014/main" id="{4BB2C2D5-6118-4A76-A71E-AEAC35908F67}"/>
              </a:ext>
            </a:extLst>
          </p:cNvPr>
          <p:cNvSpPr>
            <a:spLocks noGrp="1"/>
          </p:cNvSpPr>
          <p:nvPr>
            <p:ph type="sldNum" sz="quarter" idx="12"/>
          </p:nvPr>
        </p:nvSpPr>
        <p:spPr/>
        <p:txBody>
          <a:bodyPr/>
          <a:lstStyle/>
          <a:p>
            <a:fld id="{565CE74E-AB26-4998-AD42-012C4C1AD076}" type="slidenum">
              <a:rPr lang="zh-CN" altLang="en-US" smtClean="0"/>
              <a:t>14</a:t>
            </a:fld>
            <a:endParaRPr lang="zh-CN" altLang="en-US"/>
          </a:p>
        </p:txBody>
      </p:sp>
    </p:spTree>
    <p:extLst>
      <p:ext uri="{BB962C8B-B14F-4D97-AF65-F5344CB8AC3E}">
        <p14:creationId xmlns:p14="http://schemas.microsoft.com/office/powerpoint/2010/main" val="422199370"/>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1665"/>
          </a:xfrm>
          <a:prstGeom prst="rect">
            <a:avLst/>
          </a:prstGeom>
          <a:noFill/>
        </p:spPr>
        <p:txBody>
          <a:bodyPr wrap="square">
            <a:spAutoFit/>
          </a:bodyPr>
          <a:lstStyle/>
          <a:p>
            <a:pPr lvl="0">
              <a:defRPr/>
            </a:pPr>
            <a:r>
              <a:rPr lang="en-US" altLang="zh-CN" sz="2400" dirty="0">
                <a:solidFill>
                  <a:prstClr val="white"/>
                </a:solidFill>
                <a:latin typeface="HelveticaExt-Normal"/>
                <a:ea typeface="OPPOSans B"/>
              </a:rPr>
              <a:t>3.2 </a:t>
            </a:r>
            <a:r>
              <a:rPr lang="zh-CN" altLang="zh-CN" sz="2400" dirty="0">
                <a:solidFill>
                  <a:prstClr val="white"/>
                </a:solidFill>
                <a:latin typeface="HelveticaExt-Normal"/>
                <a:ea typeface="OPPOSans B"/>
              </a:rPr>
              <a:t>展品</a:t>
            </a:r>
            <a:r>
              <a:rPr lang="zh-CN" altLang="en-US" sz="2400" dirty="0">
                <a:solidFill>
                  <a:prstClr val="white"/>
                </a:solidFill>
                <a:latin typeface="HelveticaExt-Normal"/>
                <a:ea typeface="OPPOSans B"/>
              </a:rPr>
              <a:t>子</a:t>
            </a:r>
            <a:r>
              <a:rPr lang="zh-CN" altLang="zh-CN" sz="2400" dirty="0">
                <a:solidFill>
                  <a:prstClr val="white"/>
                </a:solidFill>
                <a:latin typeface="HelveticaExt-Normal"/>
                <a:ea typeface="OPPOSans B"/>
              </a:rPr>
              <a:t>功能</a:t>
            </a:r>
            <a:r>
              <a:rPr lang="zh-CN" altLang="en-US" sz="2400" dirty="0">
                <a:solidFill>
                  <a:prstClr val="white"/>
                </a:solidFill>
                <a:latin typeface="HelveticaExt-Normal"/>
                <a:ea typeface="OPPOSans B"/>
              </a:rPr>
              <a:t>实现原理方案比较</a:t>
            </a: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4">
              <a:biLevel thresh="25000"/>
            </a:blip>
            <a:srcRect l="30188"/>
            <a:stretch>
              <a:fillRect/>
            </a:stretch>
          </p:blipFill>
          <p:spPr>
            <a:xfrm>
              <a:off x="10483399" y="211219"/>
              <a:ext cx="1621585" cy="701101"/>
            </a:xfrm>
            <a:prstGeom prst="rect">
              <a:avLst/>
            </a:prstGeom>
          </p:spPr>
        </p:pic>
      </p:grpSp>
      <p:sp>
        <p:nvSpPr>
          <p:cNvPr id="7" name="文本框 6">
            <a:extLst>
              <a:ext uri="{FF2B5EF4-FFF2-40B4-BE49-F238E27FC236}">
                <a16:creationId xmlns:a16="http://schemas.microsoft.com/office/drawing/2014/main" id="{3C99CF63-85EF-3BEE-E80D-8E215EE98239}"/>
              </a:ext>
            </a:extLst>
          </p:cNvPr>
          <p:cNvSpPr txBox="1"/>
          <p:nvPr/>
        </p:nvSpPr>
        <p:spPr>
          <a:xfrm>
            <a:off x="-131694" y="1063993"/>
            <a:ext cx="10724194" cy="490840"/>
          </a:xfrm>
          <a:prstGeom prst="rect">
            <a:avLst/>
          </a:prstGeom>
          <a:noFill/>
        </p:spPr>
        <p:txBody>
          <a:bodyPr wrap="square">
            <a:spAutoFit/>
          </a:bodyPr>
          <a:lstStyle/>
          <a:p>
            <a:pPr indent="304800" algn="just">
              <a:lnSpc>
                <a:spcPct val="150000"/>
              </a:lnSpc>
            </a:pPr>
            <a:r>
              <a:rPr lang="zh-CN" altLang="en-US" sz="2000" kern="100" dirty="0">
                <a:latin typeface="黑体" panose="02010609060101010101" pitchFamily="49" charset="-122"/>
                <a:ea typeface="黑体" panose="02010609060101010101" pitchFamily="49" charset="-122"/>
                <a:cs typeface="Times New Roman" panose="02020603050405020304" pitchFamily="18" charset="0"/>
              </a:rPr>
              <a:t>传感系统：</a:t>
            </a:r>
            <a:endParaRPr lang="zh-CN" altLang="zh-CN" sz="2000" kern="100" dirty="0">
              <a:latin typeface="黑体" panose="02010609060101010101" pitchFamily="49" charset="-122"/>
              <a:ea typeface="黑体" panose="02010609060101010101" pitchFamily="49" charset="-122"/>
              <a:cs typeface="Times New Roman" panose="02020603050405020304" pitchFamily="18" charset="0"/>
            </a:endParaRPr>
          </a:p>
        </p:txBody>
      </p:sp>
      <p:graphicFrame>
        <p:nvGraphicFramePr>
          <p:cNvPr id="2" name="表格 1">
            <a:extLst>
              <a:ext uri="{FF2B5EF4-FFF2-40B4-BE49-F238E27FC236}">
                <a16:creationId xmlns:a16="http://schemas.microsoft.com/office/drawing/2014/main" id="{24A10C4A-CA6E-5A34-8D6E-4E1CB340A779}"/>
              </a:ext>
            </a:extLst>
          </p:cNvPr>
          <p:cNvGraphicFramePr>
            <a:graphicFrameLocks noGrp="1"/>
          </p:cNvGraphicFramePr>
          <p:nvPr>
            <p:extLst>
              <p:ext uri="{D42A27DB-BD31-4B8C-83A1-F6EECF244321}">
                <p14:modId xmlns:p14="http://schemas.microsoft.com/office/powerpoint/2010/main" val="1711912504"/>
              </p:ext>
            </p:extLst>
          </p:nvPr>
        </p:nvGraphicFramePr>
        <p:xfrm>
          <a:off x="991328" y="1878497"/>
          <a:ext cx="10302439" cy="4043136"/>
        </p:xfrm>
        <a:graphic>
          <a:graphicData uri="http://schemas.openxmlformats.org/drawingml/2006/table">
            <a:tbl>
              <a:tblPr firstRow="1" bandRow="1">
                <a:tableStyleId>{5C22544A-7EE6-4342-B048-85BDC9FD1C3A}</a:tableStyleId>
              </a:tblPr>
              <a:tblGrid>
                <a:gridCol w="1877531">
                  <a:extLst>
                    <a:ext uri="{9D8B030D-6E8A-4147-A177-3AD203B41FA5}">
                      <a16:colId xmlns:a16="http://schemas.microsoft.com/office/drawing/2014/main" val="2960751985"/>
                    </a:ext>
                  </a:extLst>
                </a:gridCol>
                <a:gridCol w="1766657">
                  <a:extLst>
                    <a:ext uri="{9D8B030D-6E8A-4147-A177-3AD203B41FA5}">
                      <a16:colId xmlns:a16="http://schemas.microsoft.com/office/drawing/2014/main" val="2724842575"/>
                    </a:ext>
                  </a:extLst>
                </a:gridCol>
                <a:gridCol w="3142695">
                  <a:extLst>
                    <a:ext uri="{9D8B030D-6E8A-4147-A177-3AD203B41FA5}">
                      <a16:colId xmlns:a16="http://schemas.microsoft.com/office/drawing/2014/main" val="1562208017"/>
                    </a:ext>
                  </a:extLst>
                </a:gridCol>
                <a:gridCol w="3515556">
                  <a:extLst>
                    <a:ext uri="{9D8B030D-6E8A-4147-A177-3AD203B41FA5}">
                      <a16:colId xmlns:a16="http://schemas.microsoft.com/office/drawing/2014/main" val="1715407234"/>
                    </a:ext>
                  </a:extLst>
                </a:gridCol>
              </a:tblGrid>
              <a:tr h="751296">
                <a:tc>
                  <a:txBody>
                    <a:bodyPr/>
                    <a:lstStyle/>
                    <a:p>
                      <a:pPr algn="ctr"/>
                      <a:r>
                        <a:rPr lang="zh-CN" altLang="en-US" sz="2400" dirty="0">
                          <a:solidFill>
                            <a:schemeClr val="bg1"/>
                          </a:solidFill>
                        </a:rPr>
                        <a:t>方案序号</a:t>
                      </a:r>
                    </a:p>
                  </a:txBody>
                  <a:tcPr anchor="ctr"/>
                </a:tc>
                <a:tc>
                  <a:txBody>
                    <a:bodyPr/>
                    <a:lstStyle/>
                    <a:p>
                      <a:pPr algn="ctr"/>
                      <a:r>
                        <a:rPr lang="zh-CN" altLang="en-US" sz="2400" dirty="0">
                          <a:solidFill>
                            <a:schemeClr val="bg1"/>
                          </a:solidFill>
                        </a:rPr>
                        <a:t>方案名称</a:t>
                      </a:r>
                    </a:p>
                  </a:txBody>
                  <a:tcPr anchor="ctr"/>
                </a:tc>
                <a:tc>
                  <a:txBody>
                    <a:bodyPr/>
                    <a:lstStyle/>
                    <a:p>
                      <a:pPr algn="ctr"/>
                      <a:r>
                        <a:rPr lang="zh-CN" altLang="en-US" sz="2400" dirty="0">
                          <a:solidFill>
                            <a:schemeClr val="bg1"/>
                          </a:solidFill>
                        </a:rPr>
                        <a:t>优点</a:t>
                      </a:r>
                    </a:p>
                  </a:txBody>
                  <a:tcPr anchor="ctr"/>
                </a:tc>
                <a:tc>
                  <a:txBody>
                    <a:bodyPr/>
                    <a:lstStyle/>
                    <a:p>
                      <a:pPr algn="ctr"/>
                      <a:r>
                        <a:rPr lang="zh-CN" altLang="en-US" sz="2400" dirty="0">
                          <a:solidFill>
                            <a:schemeClr val="bg1"/>
                          </a:solidFill>
                        </a:rPr>
                        <a:t>缺点</a:t>
                      </a:r>
                    </a:p>
                  </a:txBody>
                  <a:tcPr anchor="ctr"/>
                </a:tc>
                <a:extLst>
                  <a:ext uri="{0D108BD9-81ED-4DB2-BD59-A6C34878D82A}">
                    <a16:rowId xmlns:a16="http://schemas.microsoft.com/office/drawing/2014/main" val="4275149588"/>
                  </a:ext>
                </a:extLst>
              </a:tr>
              <a:tr h="751296">
                <a:tc>
                  <a:txBody>
                    <a:bodyPr/>
                    <a:lstStyle/>
                    <a:p>
                      <a:pPr algn="ctr"/>
                      <a:r>
                        <a:rPr lang="en-US" altLang="zh-CN" sz="2000" dirty="0">
                          <a:solidFill>
                            <a:schemeClr val="tx1"/>
                          </a:solidFill>
                        </a:rPr>
                        <a:t>1</a:t>
                      </a:r>
                      <a:endParaRPr lang="zh-CN" altLang="en-US" sz="2000" dirty="0">
                        <a:solidFill>
                          <a:schemeClr val="tx1"/>
                        </a:solidFill>
                      </a:endParaRPr>
                    </a:p>
                  </a:txBody>
                  <a:tcPr anchor="ctr"/>
                </a:tc>
                <a:tc>
                  <a:txBody>
                    <a:bodyPr/>
                    <a:lstStyle/>
                    <a:p>
                      <a:pPr algn="ctr"/>
                      <a:r>
                        <a:rPr lang="zh-CN" altLang="zh-CN" sz="1800" kern="1200" dirty="0">
                          <a:solidFill>
                            <a:schemeClr val="dk1"/>
                          </a:solidFill>
                          <a:effectLst/>
                          <a:latin typeface="+mn-lt"/>
                          <a:ea typeface="+mn-ea"/>
                          <a:cs typeface="+mn-cs"/>
                        </a:rPr>
                        <a:t>光敏传感器</a:t>
                      </a:r>
                      <a:endParaRPr lang="zh-CN" altLang="en-US" sz="2000" dirty="0">
                        <a:solidFill>
                          <a:srgbClr val="FF0000"/>
                        </a:solidFill>
                      </a:endParaRPr>
                    </a:p>
                  </a:txBody>
                  <a:tcPr anchor="ctr"/>
                </a:tc>
                <a:tc>
                  <a:txBody>
                    <a:bodyPr/>
                    <a:lstStyle/>
                    <a:p>
                      <a:pPr algn="ctr"/>
                      <a:r>
                        <a:rPr lang="zh-CN" altLang="zh-CN" sz="1800" kern="1200" dirty="0">
                          <a:solidFill>
                            <a:schemeClr val="dk1"/>
                          </a:solidFill>
                          <a:effectLst/>
                          <a:latin typeface="+mn-lt"/>
                          <a:ea typeface="+mn-ea"/>
                          <a:cs typeface="+mn-cs"/>
                        </a:rPr>
                        <a:t>能够更为真实地模拟实际使用环境中的光照检测，同时其结果也可以更为直观地反应定向结果</a:t>
                      </a:r>
                      <a:endParaRPr lang="zh-CN" altLang="en-US" sz="2000" dirty="0">
                        <a:solidFill>
                          <a:srgbClr val="FF0000"/>
                        </a:solidFill>
                      </a:endParaRPr>
                    </a:p>
                  </a:txBody>
                  <a:tcPr anchor="ctr"/>
                </a:tc>
                <a:tc>
                  <a:txBody>
                    <a:bodyPr/>
                    <a:lstStyle/>
                    <a:p>
                      <a:pPr algn="ctr"/>
                      <a:r>
                        <a:rPr lang="zh-CN" altLang="zh-CN" sz="1800" kern="1200" dirty="0">
                          <a:solidFill>
                            <a:schemeClr val="dk1"/>
                          </a:solidFill>
                          <a:effectLst/>
                          <a:latin typeface="+mn-lt"/>
                          <a:ea typeface="+mn-ea"/>
                          <a:cs typeface="+mn-cs"/>
                        </a:rPr>
                        <a:t>科技馆的展示环境中光照条件较为复杂，使用光敏传感器易受干扰，同时其性能易受环境（温度、湿度等）影响</a:t>
                      </a:r>
                      <a:endParaRPr lang="zh-CN" altLang="en-US" sz="2000" dirty="0">
                        <a:solidFill>
                          <a:srgbClr val="FF0000"/>
                        </a:solidFill>
                      </a:endParaRPr>
                    </a:p>
                  </a:txBody>
                  <a:tcPr anchor="ctr"/>
                </a:tc>
                <a:extLst>
                  <a:ext uri="{0D108BD9-81ED-4DB2-BD59-A6C34878D82A}">
                    <a16:rowId xmlns:a16="http://schemas.microsoft.com/office/drawing/2014/main" val="115690975"/>
                  </a:ext>
                </a:extLst>
              </a:tr>
              <a:tr h="751296">
                <a:tc>
                  <a:txBody>
                    <a:bodyPr/>
                    <a:lstStyle/>
                    <a:p>
                      <a:pPr algn="ctr"/>
                      <a:r>
                        <a:rPr lang="en-US" altLang="zh-CN" sz="2000" dirty="0">
                          <a:solidFill>
                            <a:srgbClr val="FF0000"/>
                          </a:solidFill>
                        </a:rPr>
                        <a:t>2</a:t>
                      </a:r>
                      <a:endParaRPr lang="zh-CN" altLang="en-US" sz="2000" dirty="0">
                        <a:solidFill>
                          <a:srgbClr val="FF0000"/>
                        </a:solidFill>
                      </a:endParaRPr>
                    </a:p>
                  </a:txBody>
                  <a:tcPr anchor="ctr"/>
                </a:tc>
                <a:tc>
                  <a:txBody>
                    <a:bodyPr/>
                    <a:lstStyle/>
                    <a:p>
                      <a:pPr algn="ctr"/>
                      <a:r>
                        <a:rPr lang="zh-CN" altLang="zh-CN" sz="1800" kern="1200" dirty="0">
                          <a:solidFill>
                            <a:srgbClr val="FF0000"/>
                          </a:solidFill>
                          <a:effectLst/>
                          <a:latin typeface="+mn-lt"/>
                          <a:ea typeface="+mn-ea"/>
                          <a:cs typeface="+mn-cs"/>
                        </a:rPr>
                        <a:t>位置传感器</a:t>
                      </a:r>
                      <a:endParaRPr lang="zh-CN" altLang="en-US" sz="2000" dirty="0">
                        <a:solidFill>
                          <a:srgbClr val="FF0000"/>
                        </a:solidFill>
                      </a:endParaRPr>
                    </a:p>
                  </a:txBody>
                  <a:tcPr anchor="ctr"/>
                </a:tc>
                <a:tc>
                  <a:txBody>
                    <a:bodyPr/>
                    <a:lstStyle/>
                    <a:p>
                      <a:pPr algn="ctr"/>
                      <a:r>
                        <a:rPr lang="zh-CN" altLang="zh-CN" sz="1800" kern="1200" dirty="0">
                          <a:solidFill>
                            <a:srgbClr val="FF0000"/>
                          </a:solidFill>
                          <a:effectLst/>
                          <a:latin typeface="+mn-lt"/>
                          <a:ea typeface="+mn-ea"/>
                          <a:cs typeface="+mn-cs"/>
                        </a:rPr>
                        <a:t>优点是不需要直接测量光照，避免了光照测量中可能出现的各种干扰，其测量结果更为稳定</a:t>
                      </a:r>
                      <a:endParaRPr lang="zh-CN" altLang="en-US" sz="2000" dirty="0">
                        <a:solidFill>
                          <a:srgbClr val="FF0000"/>
                        </a:solidFill>
                      </a:endParaRPr>
                    </a:p>
                  </a:txBody>
                  <a:tcPr anchor="ctr"/>
                </a:tc>
                <a:tc>
                  <a:txBody>
                    <a:bodyPr/>
                    <a:lstStyle/>
                    <a:p>
                      <a:pPr algn="ctr"/>
                      <a:r>
                        <a:rPr lang="zh-CN" altLang="zh-CN" sz="1800" kern="1200" dirty="0">
                          <a:solidFill>
                            <a:srgbClr val="FF0000"/>
                          </a:solidFill>
                          <a:effectLst/>
                          <a:latin typeface="+mn-lt"/>
                          <a:ea typeface="+mn-ea"/>
                          <a:cs typeface="+mn-cs"/>
                        </a:rPr>
                        <a:t>不够真实“真实”，且解算需要的计算较为复杂，对处理器性能要求较高</a:t>
                      </a:r>
                      <a:endParaRPr lang="zh-CN" altLang="en-US" sz="2000" dirty="0">
                        <a:solidFill>
                          <a:srgbClr val="FF0000"/>
                        </a:solidFill>
                      </a:endParaRPr>
                    </a:p>
                  </a:txBody>
                  <a:tcPr anchor="ctr"/>
                </a:tc>
                <a:extLst>
                  <a:ext uri="{0D108BD9-81ED-4DB2-BD59-A6C34878D82A}">
                    <a16:rowId xmlns:a16="http://schemas.microsoft.com/office/drawing/2014/main" val="10973212"/>
                  </a:ext>
                </a:extLst>
              </a:tr>
              <a:tr h="751296">
                <a:tc>
                  <a:txBody>
                    <a:bodyPr/>
                    <a:lstStyle/>
                    <a:p>
                      <a:pPr algn="ctr"/>
                      <a:r>
                        <a:rPr lang="en-US" altLang="zh-CN" sz="2000" dirty="0"/>
                        <a:t>3</a:t>
                      </a:r>
                      <a:endParaRPr lang="zh-CN" altLang="en-US" sz="2000" dirty="0"/>
                    </a:p>
                  </a:txBody>
                  <a:tcPr anchor="ctr"/>
                </a:tc>
                <a:tc>
                  <a:txBody>
                    <a:bodyPr/>
                    <a:lstStyle/>
                    <a:p>
                      <a:pPr algn="ctr"/>
                      <a:r>
                        <a:rPr lang="zh-CN" altLang="zh-CN" sz="1800" kern="1200" dirty="0">
                          <a:solidFill>
                            <a:schemeClr val="dk1"/>
                          </a:solidFill>
                          <a:effectLst/>
                          <a:latin typeface="+mn-lt"/>
                          <a:ea typeface="+mn-ea"/>
                          <a:cs typeface="+mn-cs"/>
                        </a:rPr>
                        <a:t>图像传感器</a:t>
                      </a:r>
                      <a:endParaRPr lang="zh-CN" altLang="en-US" sz="2000" dirty="0"/>
                    </a:p>
                  </a:txBody>
                  <a:tcPr anchor="ctr"/>
                </a:tc>
                <a:tc>
                  <a:txBody>
                    <a:bodyPr/>
                    <a:lstStyle/>
                    <a:p>
                      <a:pPr algn="ctr"/>
                      <a:r>
                        <a:rPr lang="zh-CN" altLang="zh-CN" sz="1800" kern="1200" dirty="0">
                          <a:solidFill>
                            <a:schemeClr val="dk1"/>
                          </a:solidFill>
                          <a:effectLst/>
                          <a:latin typeface="+mn-lt"/>
                          <a:ea typeface="+mn-ea"/>
                          <a:cs typeface="+mn-cs"/>
                        </a:rPr>
                        <a:t>避免了其他传感器可能受环境等影响的干扰，且是非接触式测量</a:t>
                      </a:r>
                      <a:endParaRPr lang="zh-CN" altLang="en-US" sz="2000" dirty="0"/>
                    </a:p>
                  </a:txBody>
                  <a:tcPr anchor="ctr"/>
                </a:tc>
                <a:tc>
                  <a:txBody>
                    <a:bodyPr/>
                    <a:lstStyle/>
                    <a:p>
                      <a:pPr algn="ctr"/>
                      <a:r>
                        <a:rPr lang="zh-CN" altLang="zh-CN" sz="1800" kern="1200" dirty="0">
                          <a:solidFill>
                            <a:schemeClr val="dk1"/>
                          </a:solidFill>
                          <a:effectLst/>
                          <a:latin typeface="+mn-lt"/>
                          <a:ea typeface="+mn-ea"/>
                          <a:cs typeface="+mn-cs"/>
                        </a:rPr>
                        <a:t>技术较复杂，成本较高，且图像处理难度较大</a:t>
                      </a:r>
                      <a:endParaRPr lang="zh-CN" altLang="en-US" sz="2000" dirty="0"/>
                    </a:p>
                  </a:txBody>
                  <a:tcPr anchor="ctr"/>
                </a:tc>
                <a:extLst>
                  <a:ext uri="{0D108BD9-81ED-4DB2-BD59-A6C34878D82A}">
                    <a16:rowId xmlns:a16="http://schemas.microsoft.com/office/drawing/2014/main" val="3608560885"/>
                  </a:ext>
                </a:extLst>
              </a:tr>
            </a:tbl>
          </a:graphicData>
        </a:graphic>
      </p:graphicFrame>
      <p:sp>
        <p:nvSpPr>
          <p:cNvPr id="4" name="灯片编号占位符 3">
            <a:extLst>
              <a:ext uri="{FF2B5EF4-FFF2-40B4-BE49-F238E27FC236}">
                <a16:creationId xmlns:a16="http://schemas.microsoft.com/office/drawing/2014/main" id="{D24EB30C-F2B2-4C1F-A5A9-893C19FE69F4}"/>
              </a:ext>
            </a:extLst>
          </p:cNvPr>
          <p:cNvSpPr>
            <a:spLocks noGrp="1"/>
          </p:cNvSpPr>
          <p:nvPr>
            <p:ph type="sldNum" sz="quarter" idx="12"/>
          </p:nvPr>
        </p:nvSpPr>
        <p:spPr/>
        <p:txBody>
          <a:bodyPr/>
          <a:lstStyle/>
          <a:p>
            <a:fld id="{565CE74E-AB26-4998-AD42-012C4C1AD076}" type="slidenum">
              <a:rPr lang="zh-CN" altLang="en-US" smtClean="0"/>
              <a:t>15</a:t>
            </a:fld>
            <a:endParaRPr lang="zh-CN" altLang="en-US"/>
          </a:p>
        </p:txBody>
      </p:sp>
    </p:spTree>
    <p:extLst>
      <p:ext uri="{BB962C8B-B14F-4D97-AF65-F5344CB8AC3E}">
        <p14:creationId xmlns:p14="http://schemas.microsoft.com/office/powerpoint/2010/main" val="2544308046"/>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1665"/>
          </a:xfrm>
          <a:prstGeom prst="rect">
            <a:avLst/>
          </a:prstGeom>
          <a:noFill/>
        </p:spPr>
        <p:txBody>
          <a:bodyPr wrap="square">
            <a:spAutoFit/>
          </a:bodyPr>
          <a:lstStyle/>
          <a:p>
            <a:pPr lvl="0">
              <a:defRPr/>
            </a:pPr>
            <a:r>
              <a:rPr lang="en-US" altLang="zh-CN" sz="2400" dirty="0">
                <a:solidFill>
                  <a:prstClr val="white"/>
                </a:solidFill>
                <a:latin typeface="HelveticaExt-Normal"/>
                <a:ea typeface="OPPOSans B"/>
              </a:rPr>
              <a:t>3.2 </a:t>
            </a:r>
            <a:r>
              <a:rPr lang="zh-CN" altLang="zh-CN" sz="2400" dirty="0">
                <a:solidFill>
                  <a:prstClr val="white"/>
                </a:solidFill>
                <a:latin typeface="HelveticaExt-Normal"/>
                <a:ea typeface="OPPOSans B"/>
              </a:rPr>
              <a:t>展品</a:t>
            </a:r>
            <a:r>
              <a:rPr lang="zh-CN" altLang="en-US" sz="2400" dirty="0">
                <a:solidFill>
                  <a:prstClr val="white"/>
                </a:solidFill>
                <a:latin typeface="HelveticaExt-Normal"/>
                <a:ea typeface="OPPOSans B"/>
              </a:rPr>
              <a:t>子</a:t>
            </a:r>
            <a:r>
              <a:rPr lang="zh-CN" altLang="zh-CN" sz="2400" dirty="0">
                <a:solidFill>
                  <a:prstClr val="white"/>
                </a:solidFill>
                <a:latin typeface="HelveticaExt-Normal"/>
                <a:ea typeface="OPPOSans B"/>
              </a:rPr>
              <a:t>功能</a:t>
            </a:r>
            <a:r>
              <a:rPr lang="zh-CN" altLang="en-US" sz="2400" dirty="0">
                <a:solidFill>
                  <a:prstClr val="white"/>
                </a:solidFill>
                <a:latin typeface="HelveticaExt-Normal"/>
                <a:ea typeface="OPPOSans B"/>
              </a:rPr>
              <a:t>实现原理方案比较</a:t>
            </a: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4">
              <a:biLevel thresh="25000"/>
            </a:blip>
            <a:srcRect l="30188"/>
            <a:stretch>
              <a:fillRect/>
            </a:stretch>
          </p:blipFill>
          <p:spPr>
            <a:xfrm>
              <a:off x="10483399" y="211219"/>
              <a:ext cx="1621585" cy="701101"/>
            </a:xfrm>
            <a:prstGeom prst="rect">
              <a:avLst/>
            </a:prstGeom>
          </p:spPr>
        </p:pic>
      </p:grpSp>
      <p:sp>
        <p:nvSpPr>
          <p:cNvPr id="7" name="文本框 6">
            <a:extLst>
              <a:ext uri="{FF2B5EF4-FFF2-40B4-BE49-F238E27FC236}">
                <a16:creationId xmlns:a16="http://schemas.microsoft.com/office/drawing/2014/main" id="{3C99CF63-85EF-3BEE-E80D-8E215EE98239}"/>
              </a:ext>
            </a:extLst>
          </p:cNvPr>
          <p:cNvSpPr txBox="1"/>
          <p:nvPr/>
        </p:nvSpPr>
        <p:spPr>
          <a:xfrm>
            <a:off x="-131694" y="1063993"/>
            <a:ext cx="10724194" cy="490840"/>
          </a:xfrm>
          <a:prstGeom prst="rect">
            <a:avLst/>
          </a:prstGeom>
          <a:noFill/>
        </p:spPr>
        <p:txBody>
          <a:bodyPr wrap="square">
            <a:spAutoFit/>
          </a:bodyPr>
          <a:lstStyle/>
          <a:p>
            <a:pPr indent="304800" algn="just">
              <a:lnSpc>
                <a:spcPct val="150000"/>
              </a:lnSpc>
            </a:pPr>
            <a:r>
              <a:rPr lang="zh-CN" altLang="en-US" sz="2000" kern="100" dirty="0">
                <a:latin typeface="黑体" panose="02010609060101010101" pitchFamily="49" charset="-122"/>
                <a:ea typeface="黑体" panose="02010609060101010101" pitchFamily="49" charset="-122"/>
                <a:cs typeface="Times New Roman" panose="02020603050405020304" pitchFamily="18" charset="0"/>
              </a:rPr>
              <a:t>控制系统：</a:t>
            </a:r>
            <a:endParaRPr lang="zh-CN" altLang="zh-CN" sz="2000" kern="100" dirty="0">
              <a:latin typeface="黑体" panose="02010609060101010101" pitchFamily="49" charset="-122"/>
              <a:ea typeface="黑体" panose="02010609060101010101" pitchFamily="49" charset="-122"/>
              <a:cs typeface="Times New Roman" panose="02020603050405020304" pitchFamily="18" charset="0"/>
            </a:endParaRPr>
          </a:p>
        </p:txBody>
      </p:sp>
      <p:graphicFrame>
        <p:nvGraphicFramePr>
          <p:cNvPr id="2" name="表格 1">
            <a:extLst>
              <a:ext uri="{FF2B5EF4-FFF2-40B4-BE49-F238E27FC236}">
                <a16:creationId xmlns:a16="http://schemas.microsoft.com/office/drawing/2014/main" id="{24A10C4A-CA6E-5A34-8D6E-4E1CB340A779}"/>
              </a:ext>
            </a:extLst>
          </p:cNvPr>
          <p:cNvGraphicFramePr>
            <a:graphicFrameLocks noGrp="1"/>
          </p:cNvGraphicFramePr>
          <p:nvPr>
            <p:extLst>
              <p:ext uri="{D42A27DB-BD31-4B8C-83A1-F6EECF244321}">
                <p14:modId xmlns:p14="http://schemas.microsoft.com/office/powerpoint/2010/main" val="1238340002"/>
              </p:ext>
            </p:extLst>
          </p:nvPr>
        </p:nvGraphicFramePr>
        <p:xfrm>
          <a:off x="944780" y="1869619"/>
          <a:ext cx="10302439" cy="4317456"/>
        </p:xfrm>
        <a:graphic>
          <a:graphicData uri="http://schemas.openxmlformats.org/drawingml/2006/table">
            <a:tbl>
              <a:tblPr firstRow="1" bandRow="1">
                <a:tableStyleId>{5C22544A-7EE6-4342-B048-85BDC9FD1C3A}</a:tableStyleId>
              </a:tblPr>
              <a:tblGrid>
                <a:gridCol w="1877531">
                  <a:extLst>
                    <a:ext uri="{9D8B030D-6E8A-4147-A177-3AD203B41FA5}">
                      <a16:colId xmlns:a16="http://schemas.microsoft.com/office/drawing/2014/main" val="2960751985"/>
                    </a:ext>
                  </a:extLst>
                </a:gridCol>
                <a:gridCol w="1766657">
                  <a:extLst>
                    <a:ext uri="{9D8B030D-6E8A-4147-A177-3AD203B41FA5}">
                      <a16:colId xmlns:a16="http://schemas.microsoft.com/office/drawing/2014/main" val="2724842575"/>
                    </a:ext>
                  </a:extLst>
                </a:gridCol>
                <a:gridCol w="3142695">
                  <a:extLst>
                    <a:ext uri="{9D8B030D-6E8A-4147-A177-3AD203B41FA5}">
                      <a16:colId xmlns:a16="http://schemas.microsoft.com/office/drawing/2014/main" val="1562208017"/>
                    </a:ext>
                  </a:extLst>
                </a:gridCol>
                <a:gridCol w="3515556">
                  <a:extLst>
                    <a:ext uri="{9D8B030D-6E8A-4147-A177-3AD203B41FA5}">
                      <a16:colId xmlns:a16="http://schemas.microsoft.com/office/drawing/2014/main" val="1715407234"/>
                    </a:ext>
                  </a:extLst>
                </a:gridCol>
              </a:tblGrid>
              <a:tr h="751296">
                <a:tc>
                  <a:txBody>
                    <a:bodyPr/>
                    <a:lstStyle/>
                    <a:p>
                      <a:pPr algn="ctr"/>
                      <a:r>
                        <a:rPr lang="zh-CN" altLang="en-US" sz="2400" dirty="0">
                          <a:solidFill>
                            <a:schemeClr val="bg1"/>
                          </a:solidFill>
                        </a:rPr>
                        <a:t>方案序号</a:t>
                      </a:r>
                    </a:p>
                  </a:txBody>
                  <a:tcPr anchor="ctr"/>
                </a:tc>
                <a:tc>
                  <a:txBody>
                    <a:bodyPr/>
                    <a:lstStyle/>
                    <a:p>
                      <a:pPr algn="ctr"/>
                      <a:r>
                        <a:rPr lang="zh-CN" altLang="en-US" sz="2400" dirty="0">
                          <a:solidFill>
                            <a:schemeClr val="bg1"/>
                          </a:solidFill>
                        </a:rPr>
                        <a:t>方案名称</a:t>
                      </a:r>
                    </a:p>
                  </a:txBody>
                  <a:tcPr anchor="ctr"/>
                </a:tc>
                <a:tc>
                  <a:txBody>
                    <a:bodyPr/>
                    <a:lstStyle/>
                    <a:p>
                      <a:pPr algn="ctr"/>
                      <a:r>
                        <a:rPr lang="zh-CN" altLang="en-US" sz="2400" dirty="0">
                          <a:solidFill>
                            <a:schemeClr val="bg1"/>
                          </a:solidFill>
                        </a:rPr>
                        <a:t>优点</a:t>
                      </a:r>
                    </a:p>
                  </a:txBody>
                  <a:tcPr anchor="ctr"/>
                </a:tc>
                <a:tc>
                  <a:txBody>
                    <a:bodyPr/>
                    <a:lstStyle/>
                    <a:p>
                      <a:pPr algn="ctr"/>
                      <a:r>
                        <a:rPr lang="zh-CN" altLang="en-US" sz="2400" dirty="0">
                          <a:solidFill>
                            <a:schemeClr val="bg1"/>
                          </a:solidFill>
                        </a:rPr>
                        <a:t>缺点</a:t>
                      </a:r>
                    </a:p>
                  </a:txBody>
                  <a:tcPr anchor="ctr"/>
                </a:tc>
                <a:extLst>
                  <a:ext uri="{0D108BD9-81ED-4DB2-BD59-A6C34878D82A}">
                    <a16:rowId xmlns:a16="http://schemas.microsoft.com/office/drawing/2014/main" val="4275149588"/>
                  </a:ext>
                </a:extLst>
              </a:tr>
              <a:tr h="751296">
                <a:tc>
                  <a:txBody>
                    <a:bodyPr/>
                    <a:lstStyle/>
                    <a:p>
                      <a:pPr algn="ctr"/>
                      <a:r>
                        <a:rPr lang="en-US" altLang="zh-CN" sz="2000" dirty="0">
                          <a:solidFill>
                            <a:schemeClr val="tx1"/>
                          </a:solidFill>
                        </a:rPr>
                        <a:t>1</a:t>
                      </a:r>
                      <a:endParaRPr lang="zh-CN" altLang="en-US" sz="2000" dirty="0">
                        <a:solidFill>
                          <a:schemeClr val="tx1"/>
                        </a:solidFill>
                      </a:endParaRPr>
                    </a:p>
                  </a:txBody>
                  <a:tcPr anchor="ctr"/>
                </a:tc>
                <a:tc>
                  <a:txBody>
                    <a:bodyPr/>
                    <a:lstStyle/>
                    <a:p>
                      <a:pPr algn="ctr"/>
                      <a:r>
                        <a:rPr lang="en-US" altLang="zh-CN" sz="1800" kern="1200" dirty="0">
                          <a:solidFill>
                            <a:schemeClr val="dk1"/>
                          </a:solidFill>
                          <a:effectLst/>
                          <a:latin typeface="+mn-lt"/>
                          <a:ea typeface="+mn-ea"/>
                          <a:cs typeface="+mn-cs"/>
                        </a:rPr>
                        <a:t>PLC</a:t>
                      </a:r>
                      <a:r>
                        <a:rPr lang="zh-CN" altLang="zh-CN" sz="1800" kern="1200" dirty="0">
                          <a:solidFill>
                            <a:schemeClr val="dk1"/>
                          </a:solidFill>
                          <a:effectLst/>
                          <a:latin typeface="+mn-lt"/>
                          <a:ea typeface="+mn-ea"/>
                          <a:cs typeface="+mn-cs"/>
                        </a:rPr>
                        <a:t>方案</a:t>
                      </a:r>
                      <a:endParaRPr lang="zh-CN" altLang="en-US" sz="2000" dirty="0">
                        <a:solidFill>
                          <a:srgbClr val="FF0000"/>
                        </a:solidFill>
                      </a:endParaRPr>
                    </a:p>
                  </a:txBody>
                  <a:tcPr anchor="ctr"/>
                </a:tc>
                <a:tc>
                  <a:txBody>
                    <a:bodyPr/>
                    <a:lstStyle/>
                    <a:p>
                      <a:pPr algn="ctr"/>
                      <a:r>
                        <a:rPr lang="zh-CN" altLang="zh-CN" sz="1800" kern="1200" dirty="0">
                          <a:solidFill>
                            <a:schemeClr val="dk1"/>
                          </a:solidFill>
                          <a:effectLst/>
                          <a:latin typeface="+mn-lt"/>
                          <a:ea typeface="+mn-ea"/>
                          <a:cs typeface="+mn-cs"/>
                        </a:rPr>
                        <a:t>操作简便，可靠性高，具有较强的抗干扰性、鲁棒性与便于维护性</a:t>
                      </a:r>
                      <a:endParaRPr lang="zh-CN" altLang="en-US" sz="2000" dirty="0">
                        <a:solidFill>
                          <a:srgbClr val="FF0000"/>
                        </a:solidFill>
                      </a:endParaRPr>
                    </a:p>
                  </a:txBody>
                  <a:tcPr anchor="ctr"/>
                </a:tc>
                <a:tc>
                  <a:txBody>
                    <a:bodyPr/>
                    <a:lstStyle/>
                    <a:p>
                      <a:pPr algn="ctr"/>
                      <a:r>
                        <a:rPr lang="zh-CN" altLang="zh-CN" sz="1800" kern="1200" dirty="0">
                          <a:solidFill>
                            <a:schemeClr val="dk1"/>
                          </a:solidFill>
                          <a:effectLst/>
                          <a:latin typeface="+mn-lt"/>
                          <a:ea typeface="+mn-ea"/>
                          <a:cs typeface="+mn-cs"/>
                        </a:rPr>
                        <a:t>功能较为单一，编程的自由度不高，软件兼容性差，对其他硬件的兼容性也不佳</a:t>
                      </a:r>
                      <a:r>
                        <a:rPr lang="zh-CN" altLang="en-US" sz="1800" kern="1200" dirty="0">
                          <a:solidFill>
                            <a:schemeClr val="dk1"/>
                          </a:solidFill>
                          <a:effectLst/>
                          <a:latin typeface="+mn-lt"/>
                          <a:ea typeface="+mn-ea"/>
                          <a:cs typeface="+mn-cs"/>
                        </a:rPr>
                        <a:t>。本组成员亦无</a:t>
                      </a:r>
                      <a:r>
                        <a:rPr lang="en-US" altLang="zh-CN" sz="1800" kern="1200" dirty="0">
                          <a:solidFill>
                            <a:schemeClr val="dk1"/>
                          </a:solidFill>
                          <a:effectLst/>
                          <a:latin typeface="+mn-lt"/>
                          <a:ea typeface="+mn-ea"/>
                          <a:cs typeface="+mn-cs"/>
                        </a:rPr>
                        <a:t>PLC</a:t>
                      </a:r>
                      <a:r>
                        <a:rPr lang="zh-CN" altLang="en-US" sz="1800" kern="1200" dirty="0">
                          <a:solidFill>
                            <a:schemeClr val="dk1"/>
                          </a:solidFill>
                          <a:effectLst/>
                          <a:latin typeface="+mn-lt"/>
                          <a:ea typeface="+mn-ea"/>
                          <a:cs typeface="+mn-cs"/>
                        </a:rPr>
                        <a:t>控制经验</a:t>
                      </a:r>
                      <a:endParaRPr lang="zh-CN" altLang="en-US" sz="2000" dirty="0">
                        <a:solidFill>
                          <a:srgbClr val="FF0000"/>
                        </a:solidFill>
                      </a:endParaRPr>
                    </a:p>
                  </a:txBody>
                  <a:tcPr anchor="ctr"/>
                </a:tc>
                <a:extLst>
                  <a:ext uri="{0D108BD9-81ED-4DB2-BD59-A6C34878D82A}">
                    <a16:rowId xmlns:a16="http://schemas.microsoft.com/office/drawing/2014/main" val="115690975"/>
                  </a:ext>
                </a:extLst>
              </a:tr>
              <a:tr h="751296">
                <a:tc>
                  <a:txBody>
                    <a:bodyPr/>
                    <a:lstStyle/>
                    <a:p>
                      <a:pPr algn="ctr"/>
                      <a:r>
                        <a:rPr lang="en-US" altLang="zh-CN" sz="2000" dirty="0">
                          <a:solidFill>
                            <a:srgbClr val="FF0000"/>
                          </a:solidFill>
                        </a:rPr>
                        <a:t>2</a:t>
                      </a:r>
                      <a:endParaRPr lang="zh-CN" altLang="en-US" sz="2000" dirty="0">
                        <a:solidFill>
                          <a:srgbClr val="FF0000"/>
                        </a:solidFill>
                      </a:endParaRPr>
                    </a:p>
                  </a:txBody>
                  <a:tcPr anchor="ctr"/>
                </a:tc>
                <a:tc>
                  <a:txBody>
                    <a:bodyPr/>
                    <a:lstStyle/>
                    <a:p>
                      <a:pPr algn="ctr"/>
                      <a:r>
                        <a:rPr lang="zh-CN" altLang="zh-CN" sz="1800" kern="1200" dirty="0">
                          <a:solidFill>
                            <a:srgbClr val="FF0000"/>
                          </a:solidFill>
                          <a:effectLst/>
                          <a:latin typeface="+mn-lt"/>
                          <a:ea typeface="+mn-ea"/>
                          <a:cs typeface="+mn-cs"/>
                        </a:rPr>
                        <a:t>单片机方案</a:t>
                      </a:r>
                      <a:endParaRPr lang="zh-CN" altLang="en-US" sz="2000" dirty="0">
                        <a:solidFill>
                          <a:srgbClr val="FF0000"/>
                        </a:solidFill>
                      </a:endParaRPr>
                    </a:p>
                  </a:txBody>
                  <a:tcPr anchor="ctr"/>
                </a:tc>
                <a:tc>
                  <a:txBody>
                    <a:bodyPr/>
                    <a:lstStyle/>
                    <a:p>
                      <a:pPr algn="ctr"/>
                      <a:r>
                        <a:rPr lang="zh-CN" altLang="zh-CN" sz="1800" kern="1200" dirty="0">
                          <a:solidFill>
                            <a:srgbClr val="FF0000"/>
                          </a:solidFill>
                          <a:effectLst/>
                          <a:latin typeface="+mn-lt"/>
                          <a:ea typeface="+mn-ea"/>
                          <a:cs typeface="+mn-cs"/>
                        </a:rPr>
                        <a:t>高度集成性，低廉的成本与较低的功耗，易于设计和开发、较高的灵活性与可靠性</a:t>
                      </a:r>
                      <a:endParaRPr lang="zh-CN" altLang="en-US" sz="2000" dirty="0">
                        <a:solidFill>
                          <a:srgbClr val="FF0000"/>
                        </a:solidFill>
                      </a:endParaRPr>
                    </a:p>
                  </a:txBody>
                  <a:tcPr anchor="ctr"/>
                </a:tc>
                <a:tc>
                  <a:txBody>
                    <a:bodyPr/>
                    <a:lstStyle/>
                    <a:p>
                      <a:pPr algn="ctr"/>
                      <a:r>
                        <a:rPr lang="zh-CN" altLang="zh-CN" sz="1800" kern="1200" dirty="0">
                          <a:solidFill>
                            <a:srgbClr val="FF0000"/>
                          </a:solidFill>
                          <a:effectLst/>
                          <a:latin typeface="+mn-lt"/>
                          <a:ea typeface="+mn-ea"/>
                          <a:cs typeface="+mn-cs"/>
                        </a:rPr>
                        <a:t>性能、资源、扩展性等方面的诸多限制，以及由散热不畅导致的过热问题等</a:t>
                      </a:r>
                      <a:endParaRPr lang="zh-CN" altLang="en-US" sz="2000" dirty="0">
                        <a:solidFill>
                          <a:srgbClr val="FF0000"/>
                        </a:solidFill>
                      </a:endParaRPr>
                    </a:p>
                  </a:txBody>
                  <a:tcPr anchor="ctr"/>
                </a:tc>
                <a:extLst>
                  <a:ext uri="{0D108BD9-81ED-4DB2-BD59-A6C34878D82A}">
                    <a16:rowId xmlns:a16="http://schemas.microsoft.com/office/drawing/2014/main" val="10973212"/>
                  </a:ext>
                </a:extLst>
              </a:tr>
              <a:tr h="751296">
                <a:tc>
                  <a:txBody>
                    <a:bodyPr/>
                    <a:lstStyle/>
                    <a:p>
                      <a:pPr algn="ctr"/>
                      <a:r>
                        <a:rPr lang="en-US" altLang="zh-CN" sz="2000" dirty="0">
                          <a:solidFill>
                            <a:srgbClr val="FF0000"/>
                          </a:solidFill>
                        </a:rPr>
                        <a:t>3</a:t>
                      </a:r>
                      <a:endParaRPr lang="zh-CN" altLang="en-US" sz="2000" dirty="0">
                        <a:solidFill>
                          <a:srgbClr val="FF0000"/>
                        </a:solidFill>
                      </a:endParaRPr>
                    </a:p>
                  </a:txBody>
                  <a:tcPr anchor="ctr"/>
                </a:tc>
                <a:tc>
                  <a:txBody>
                    <a:bodyPr/>
                    <a:lstStyle/>
                    <a:p>
                      <a:pPr algn="ctr"/>
                      <a:r>
                        <a:rPr lang="zh-CN" altLang="zh-CN" sz="1800" kern="1200" dirty="0">
                          <a:solidFill>
                            <a:srgbClr val="FF0000"/>
                          </a:solidFill>
                          <a:effectLst/>
                          <a:latin typeface="+mn-lt"/>
                          <a:ea typeface="+mn-ea"/>
                          <a:cs typeface="+mn-cs"/>
                        </a:rPr>
                        <a:t>树莓派（</a:t>
                      </a:r>
                      <a:r>
                        <a:rPr lang="en-US" altLang="zh-CN" sz="1800" kern="1200" dirty="0">
                          <a:solidFill>
                            <a:srgbClr val="FF0000"/>
                          </a:solidFill>
                          <a:effectLst/>
                          <a:latin typeface="+mn-lt"/>
                          <a:ea typeface="+mn-ea"/>
                          <a:cs typeface="+mn-cs"/>
                        </a:rPr>
                        <a:t>Raspberry Pi</a:t>
                      </a:r>
                      <a:r>
                        <a:rPr lang="zh-CN" altLang="zh-CN" sz="1800" kern="1200" dirty="0">
                          <a:solidFill>
                            <a:srgbClr val="FF0000"/>
                          </a:solidFill>
                          <a:effectLst/>
                          <a:latin typeface="+mn-lt"/>
                          <a:ea typeface="+mn-ea"/>
                          <a:cs typeface="+mn-cs"/>
                        </a:rPr>
                        <a:t>）</a:t>
                      </a:r>
                      <a:endParaRPr lang="zh-CN" altLang="en-US" sz="2000" dirty="0">
                        <a:solidFill>
                          <a:srgbClr val="FF0000"/>
                        </a:solidFill>
                      </a:endParaRPr>
                    </a:p>
                  </a:txBody>
                  <a:tcPr anchor="ctr"/>
                </a:tc>
                <a:tc>
                  <a:txBody>
                    <a:bodyPr/>
                    <a:lstStyle/>
                    <a:p>
                      <a:pPr algn="ctr"/>
                      <a:r>
                        <a:rPr lang="zh-CN" altLang="zh-CN" sz="1800" kern="1200" dirty="0">
                          <a:solidFill>
                            <a:srgbClr val="FF0000"/>
                          </a:solidFill>
                          <a:effectLst/>
                          <a:latin typeface="+mn-lt"/>
                          <a:ea typeface="+mn-ea"/>
                          <a:cs typeface="+mn-cs"/>
                        </a:rPr>
                        <a:t>小巧便携的体积，较高的兼容性，更为强大的计算性能，兼容</a:t>
                      </a:r>
                      <a:r>
                        <a:rPr lang="en-US" altLang="zh-CN" sz="1800" kern="1200" dirty="0">
                          <a:solidFill>
                            <a:srgbClr val="FF0000"/>
                          </a:solidFill>
                          <a:effectLst/>
                          <a:latin typeface="+mn-lt"/>
                          <a:ea typeface="+mn-ea"/>
                          <a:cs typeface="+mn-cs"/>
                        </a:rPr>
                        <a:t>GPIO</a:t>
                      </a:r>
                      <a:r>
                        <a:rPr lang="zh-CN" altLang="zh-CN" sz="1800" kern="1200" dirty="0">
                          <a:solidFill>
                            <a:srgbClr val="FF0000"/>
                          </a:solidFill>
                          <a:effectLst/>
                          <a:latin typeface="+mn-lt"/>
                          <a:ea typeface="+mn-ea"/>
                          <a:cs typeface="+mn-cs"/>
                        </a:rPr>
                        <a:t>与</a:t>
                      </a:r>
                      <a:r>
                        <a:rPr lang="en-US" altLang="zh-CN" sz="1800" kern="1200" dirty="0">
                          <a:solidFill>
                            <a:srgbClr val="FF0000"/>
                          </a:solidFill>
                          <a:effectLst/>
                          <a:latin typeface="+mn-lt"/>
                          <a:ea typeface="+mn-ea"/>
                          <a:cs typeface="+mn-cs"/>
                        </a:rPr>
                        <a:t>USB</a:t>
                      </a:r>
                      <a:r>
                        <a:rPr lang="zh-CN" altLang="zh-CN" sz="1800" kern="1200" dirty="0">
                          <a:solidFill>
                            <a:srgbClr val="FF0000"/>
                          </a:solidFill>
                          <a:effectLst/>
                          <a:latin typeface="+mn-lt"/>
                          <a:ea typeface="+mn-ea"/>
                          <a:cs typeface="+mn-cs"/>
                        </a:rPr>
                        <a:t>，具有网络连接、多媒体等能力，具备很强的可扩展性</a:t>
                      </a:r>
                      <a:endParaRPr lang="zh-CN" altLang="en-US" sz="2000" dirty="0">
                        <a:solidFill>
                          <a:srgbClr val="FF0000"/>
                        </a:solidFill>
                      </a:endParaRPr>
                    </a:p>
                  </a:txBody>
                  <a:tcPr anchor="ctr"/>
                </a:tc>
                <a:tc>
                  <a:txBody>
                    <a:bodyPr/>
                    <a:lstStyle/>
                    <a:p>
                      <a:pPr algn="ctr"/>
                      <a:r>
                        <a:rPr lang="zh-CN" altLang="zh-CN" sz="1800" kern="1200" dirty="0">
                          <a:solidFill>
                            <a:srgbClr val="FF0000"/>
                          </a:solidFill>
                          <a:effectLst/>
                          <a:latin typeface="+mn-lt"/>
                          <a:ea typeface="+mn-ea"/>
                          <a:cs typeface="+mn-cs"/>
                        </a:rPr>
                        <a:t>成本较高，难以维护，鲁棒性不佳，对散热与功耗都有要求等缺点，且其学习成本高</a:t>
                      </a:r>
                      <a:endParaRPr lang="zh-CN" altLang="en-US" sz="2000" dirty="0">
                        <a:solidFill>
                          <a:srgbClr val="FF0000"/>
                        </a:solidFill>
                      </a:endParaRPr>
                    </a:p>
                  </a:txBody>
                  <a:tcPr anchor="ctr"/>
                </a:tc>
                <a:extLst>
                  <a:ext uri="{0D108BD9-81ED-4DB2-BD59-A6C34878D82A}">
                    <a16:rowId xmlns:a16="http://schemas.microsoft.com/office/drawing/2014/main" val="3608560885"/>
                  </a:ext>
                </a:extLst>
              </a:tr>
            </a:tbl>
          </a:graphicData>
        </a:graphic>
      </p:graphicFrame>
      <p:sp>
        <p:nvSpPr>
          <p:cNvPr id="4" name="灯片编号占位符 3">
            <a:extLst>
              <a:ext uri="{FF2B5EF4-FFF2-40B4-BE49-F238E27FC236}">
                <a16:creationId xmlns:a16="http://schemas.microsoft.com/office/drawing/2014/main" id="{9C8EB528-3641-4897-BC2E-ED9DA120DB4A}"/>
              </a:ext>
            </a:extLst>
          </p:cNvPr>
          <p:cNvSpPr>
            <a:spLocks noGrp="1"/>
          </p:cNvSpPr>
          <p:nvPr>
            <p:ph type="sldNum" sz="quarter" idx="12"/>
          </p:nvPr>
        </p:nvSpPr>
        <p:spPr/>
        <p:txBody>
          <a:bodyPr/>
          <a:lstStyle/>
          <a:p>
            <a:fld id="{565CE74E-AB26-4998-AD42-012C4C1AD076}" type="slidenum">
              <a:rPr lang="zh-CN" altLang="en-US" smtClean="0"/>
              <a:t>16</a:t>
            </a:fld>
            <a:endParaRPr lang="zh-CN" altLang="en-US"/>
          </a:p>
        </p:txBody>
      </p:sp>
    </p:spTree>
    <p:extLst>
      <p:ext uri="{BB962C8B-B14F-4D97-AF65-F5344CB8AC3E}">
        <p14:creationId xmlns:p14="http://schemas.microsoft.com/office/powerpoint/2010/main" val="693654886"/>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1665"/>
          </a:xfrm>
          <a:prstGeom prst="rect">
            <a:avLst/>
          </a:prstGeom>
          <a:noFill/>
        </p:spPr>
        <p:txBody>
          <a:bodyPr wrap="square">
            <a:spAutoFit/>
          </a:bodyPr>
          <a:lstStyle/>
          <a:p>
            <a:pPr lvl="0">
              <a:defRPr/>
            </a:pPr>
            <a:r>
              <a:rPr lang="en-US" altLang="zh-CN" sz="2400" dirty="0">
                <a:solidFill>
                  <a:prstClr val="white"/>
                </a:solidFill>
                <a:latin typeface="HelveticaExt-Normal"/>
                <a:ea typeface="OPPOSans B"/>
              </a:rPr>
              <a:t>3.2 </a:t>
            </a:r>
            <a:r>
              <a:rPr lang="zh-CN" altLang="zh-CN" sz="2400" dirty="0">
                <a:solidFill>
                  <a:prstClr val="white"/>
                </a:solidFill>
                <a:latin typeface="HelveticaExt-Normal"/>
                <a:ea typeface="OPPOSans B"/>
              </a:rPr>
              <a:t>展品</a:t>
            </a:r>
            <a:r>
              <a:rPr lang="zh-CN" altLang="en-US" sz="2400" dirty="0">
                <a:solidFill>
                  <a:prstClr val="white"/>
                </a:solidFill>
                <a:latin typeface="HelveticaExt-Normal"/>
                <a:ea typeface="OPPOSans B"/>
              </a:rPr>
              <a:t>子</a:t>
            </a:r>
            <a:r>
              <a:rPr lang="zh-CN" altLang="zh-CN" sz="2400" dirty="0">
                <a:solidFill>
                  <a:prstClr val="white"/>
                </a:solidFill>
                <a:latin typeface="HelveticaExt-Normal"/>
                <a:ea typeface="OPPOSans B"/>
              </a:rPr>
              <a:t>功能</a:t>
            </a:r>
            <a:r>
              <a:rPr lang="zh-CN" altLang="en-US" sz="2400" dirty="0">
                <a:solidFill>
                  <a:prstClr val="white"/>
                </a:solidFill>
                <a:latin typeface="HelveticaExt-Normal"/>
                <a:ea typeface="OPPOSans B"/>
              </a:rPr>
              <a:t>实现原理方案比较</a:t>
            </a: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4">
              <a:biLevel thresh="25000"/>
            </a:blip>
            <a:srcRect l="30188"/>
            <a:stretch>
              <a:fillRect/>
            </a:stretch>
          </p:blipFill>
          <p:spPr>
            <a:xfrm>
              <a:off x="10483399" y="211219"/>
              <a:ext cx="1621585" cy="701101"/>
            </a:xfrm>
            <a:prstGeom prst="rect">
              <a:avLst/>
            </a:prstGeom>
          </p:spPr>
        </p:pic>
      </p:grpSp>
      <p:sp>
        <p:nvSpPr>
          <p:cNvPr id="7" name="文本框 6">
            <a:extLst>
              <a:ext uri="{FF2B5EF4-FFF2-40B4-BE49-F238E27FC236}">
                <a16:creationId xmlns:a16="http://schemas.microsoft.com/office/drawing/2014/main" id="{3C99CF63-85EF-3BEE-E80D-8E215EE98239}"/>
              </a:ext>
            </a:extLst>
          </p:cNvPr>
          <p:cNvSpPr txBox="1"/>
          <p:nvPr/>
        </p:nvSpPr>
        <p:spPr>
          <a:xfrm>
            <a:off x="-131694" y="1063993"/>
            <a:ext cx="10724194" cy="490840"/>
          </a:xfrm>
          <a:prstGeom prst="rect">
            <a:avLst/>
          </a:prstGeom>
          <a:noFill/>
        </p:spPr>
        <p:txBody>
          <a:bodyPr wrap="square">
            <a:spAutoFit/>
          </a:bodyPr>
          <a:lstStyle/>
          <a:p>
            <a:pPr indent="304800" algn="just">
              <a:lnSpc>
                <a:spcPct val="150000"/>
              </a:lnSpc>
            </a:pPr>
            <a:r>
              <a:rPr lang="zh-CN" altLang="en-US" sz="2000" kern="100" dirty="0">
                <a:latin typeface="黑体" panose="02010609060101010101" pitchFamily="49" charset="-122"/>
                <a:ea typeface="黑体" panose="02010609060101010101" pitchFamily="49" charset="-122"/>
                <a:cs typeface="Times New Roman" panose="02020603050405020304" pitchFamily="18" charset="0"/>
              </a:rPr>
              <a:t>交互系统：</a:t>
            </a:r>
            <a:endParaRPr lang="zh-CN" altLang="zh-CN" sz="2000" kern="100" dirty="0">
              <a:latin typeface="黑体" panose="02010609060101010101" pitchFamily="49" charset="-122"/>
              <a:ea typeface="黑体" panose="02010609060101010101" pitchFamily="49" charset="-122"/>
              <a:cs typeface="Times New Roman" panose="02020603050405020304" pitchFamily="18" charset="0"/>
            </a:endParaRPr>
          </a:p>
        </p:txBody>
      </p:sp>
      <p:graphicFrame>
        <p:nvGraphicFramePr>
          <p:cNvPr id="2" name="表格 1">
            <a:extLst>
              <a:ext uri="{FF2B5EF4-FFF2-40B4-BE49-F238E27FC236}">
                <a16:creationId xmlns:a16="http://schemas.microsoft.com/office/drawing/2014/main" id="{24A10C4A-CA6E-5A34-8D6E-4E1CB340A779}"/>
              </a:ext>
            </a:extLst>
          </p:cNvPr>
          <p:cNvGraphicFramePr>
            <a:graphicFrameLocks noGrp="1"/>
          </p:cNvGraphicFramePr>
          <p:nvPr>
            <p:extLst>
              <p:ext uri="{D42A27DB-BD31-4B8C-83A1-F6EECF244321}">
                <p14:modId xmlns:p14="http://schemas.microsoft.com/office/powerpoint/2010/main" val="2732908404"/>
              </p:ext>
            </p:extLst>
          </p:nvPr>
        </p:nvGraphicFramePr>
        <p:xfrm>
          <a:off x="894886" y="1820452"/>
          <a:ext cx="10302439" cy="2416992"/>
        </p:xfrm>
        <a:graphic>
          <a:graphicData uri="http://schemas.openxmlformats.org/drawingml/2006/table">
            <a:tbl>
              <a:tblPr firstRow="1" bandRow="1">
                <a:tableStyleId>{5C22544A-7EE6-4342-B048-85BDC9FD1C3A}</a:tableStyleId>
              </a:tblPr>
              <a:tblGrid>
                <a:gridCol w="1877531">
                  <a:extLst>
                    <a:ext uri="{9D8B030D-6E8A-4147-A177-3AD203B41FA5}">
                      <a16:colId xmlns:a16="http://schemas.microsoft.com/office/drawing/2014/main" val="2960751985"/>
                    </a:ext>
                  </a:extLst>
                </a:gridCol>
                <a:gridCol w="1766657">
                  <a:extLst>
                    <a:ext uri="{9D8B030D-6E8A-4147-A177-3AD203B41FA5}">
                      <a16:colId xmlns:a16="http://schemas.microsoft.com/office/drawing/2014/main" val="2724842575"/>
                    </a:ext>
                  </a:extLst>
                </a:gridCol>
                <a:gridCol w="3142695">
                  <a:extLst>
                    <a:ext uri="{9D8B030D-6E8A-4147-A177-3AD203B41FA5}">
                      <a16:colId xmlns:a16="http://schemas.microsoft.com/office/drawing/2014/main" val="1562208017"/>
                    </a:ext>
                  </a:extLst>
                </a:gridCol>
                <a:gridCol w="3515556">
                  <a:extLst>
                    <a:ext uri="{9D8B030D-6E8A-4147-A177-3AD203B41FA5}">
                      <a16:colId xmlns:a16="http://schemas.microsoft.com/office/drawing/2014/main" val="1715407234"/>
                    </a:ext>
                  </a:extLst>
                </a:gridCol>
              </a:tblGrid>
              <a:tr h="751296">
                <a:tc>
                  <a:txBody>
                    <a:bodyPr/>
                    <a:lstStyle/>
                    <a:p>
                      <a:pPr algn="ctr"/>
                      <a:r>
                        <a:rPr lang="zh-CN" altLang="en-US" sz="2400" dirty="0">
                          <a:solidFill>
                            <a:schemeClr val="bg1"/>
                          </a:solidFill>
                        </a:rPr>
                        <a:t>方案序号</a:t>
                      </a:r>
                    </a:p>
                  </a:txBody>
                  <a:tcPr anchor="ctr"/>
                </a:tc>
                <a:tc>
                  <a:txBody>
                    <a:bodyPr/>
                    <a:lstStyle/>
                    <a:p>
                      <a:pPr algn="ctr"/>
                      <a:r>
                        <a:rPr lang="zh-CN" altLang="en-US" sz="2400" dirty="0">
                          <a:solidFill>
                            <a:schemeClr val="bg1"/>
                          </a:solidFill>
                        </a:rPr>
                        <a:t>方案名称</a:t>
                      </a:r>
                    </a:p>
                  </a:txBody>
                  <a:tcPr anchor="ctr"/>
                </a:tc>
                <a:tc>
                  <a:txBody>
                    <a:bodyPr/>
                    <a:lstStyle/>
                    <a:p>
                      <a:pPr algn="ctr"/>
                      <a:r>
                        <a:rPr lang="zh-CN" altLang="en-US" sz="2400" dirty="0">
                          <a:solidFill>
                            <a:schemeClr val="bg1"/>
                          </a:solidFill>
                        </a:rPr>
                        <a:t>优点</a:t>
                      </a:r>
                    </a:p>
                  </a:txBody>
                  <a:tcPr anchor="ctr"/>
                </a:tc>
                <a:tc>
                  <a:txBody>
                    <a:bodyPr/>
                    <a:lstStyle/>
                    <a:p>
                      <a:pPr algn="ctr"/>
                      <a:r>
                        <a:rPr lang="zh-CN" altLang="en-US" sz="2400" dirty="0">
                          <a:solidFill>
                            <a:schemeClr val="bg1"/>
                          </a:solidFill>
                        </a:rPr>
                        <a:t>缺点</a:t>
                      </a:r>
                    </a:p>
                  </a:txBody>
                  <a:tcPr anchor="ctr"/>
                </a:tc>
                <a:extLst>
                  <a:ext uri="{0D108BD9-81ED-4DB2-BD59-A6C34878D82A}">
                    <a16:rowId xmlns:a16="http://schemas.microsoft.com/office/drawing/2014/main" val="4275149588"/>
                  </a:ext>
                </a:extLst>
              </a:tr>
              <a:tr h="751296">
                <a:tc>
                  <a:txBody>
                    <a:bodyPr/>
                    <a:lstStyle/>
                    <a:p>
                      <a:pPr algn="ctr"/>
                      <a:r>
                        <a:rPr lang="en-US" altLang="zh-CN" sz="2000" dirty="0">
                          <a:solidFill>
                            <a:schemeClr val="tx1"/>
                          </a:solidFill>
                        </a:rPr>
                        <a:t>1</a:t>
                      </a:r>
                      <a:endParaRPr lang="zh-CN" altLang="en-US" sz="2000" dirty="0">
                        <a:solidFill>
                          <a:schemeClr val="tx1"/>
                        </a:solidFill>
                      </a:endParaRPr>
                    </a:p>
                  </a:txBody>
                  <a:tcPr anchor="ctr"/>
                </a:tc>
                <a:tc>
                  <a:txBody>
                    <a:bodyPr/>
                    <a:lstStyle/>
                    <a:p>
                      <a:pPr algn="ctr"/>
                      <a:r>
                        <a:rPr lang="zh-CN" altLang="zh-CN" sz="1800" kern="1200" dirty="0">
                          <a:solidFill>
                            <a:schemeClr val="dk1"/>
                          </a:solidFill>
                          <a:effectLst/>
                          <a:latin typeface="+mn-lt"/>
                          <a:ea typeface="+mn-ea"/>
                          <a:cs typeface="+mn-cs"/>
                        </a:rPr>
                        <a:t>数码管</a:t>
                      </a:r>
                      <a:endParaRPr lang="zh-CN" altLang="en-US" sz="2000" dirty="0">
                        <a:solidFill>
                          <a:srgbClr val="FF0000"/>
                        </a:solidFill>
                      </a:endParaRPr>
                    </a:p>
                  </a:txBody>
                  <a:tcPr anchor="ctr"/>
                </a:tc>
                <a:tc>
                  <a:txBody>
                    <a:bodyPr/>
                    <a:lstStyle/>
                    <a:p>
                      <a:pPr algn="ctr"/>
                      <a:r>
                        <a:rPr lang="zh-CN" altLang="zh-CN" sz="1800" kern="1200" dirty="0">
                          <a:solidFill>
                            <a:schemeClr val="dk1"/>
                          </a:solidFill>
                          <a:effectLst/>
                          <a:latin typeface="+mn-lt"/>
                          <a:ea typeface="+mn-ea"/>
                          <a:cs typeface="+mn-cs"/>
                        </a:rPr>
                        <a:t>设计简单，成本低廉，易于维护，鲁棒性好</a:t>
                      </a:r>
                      <a:endParaRPr lang="zh-CN" altLang="en-US" sz="2000" dirty="0">
                        <a:solidFill>
                          <a:srgbClr val="FF0000"/>
                        </a:solidFill>
                      </a:endParaRPr>
                    </a:p>
                  </a:txBody>
                  <a:tcPr anchor="ctr"/>
                </a:tc>
                <a:tc>
                  <a:txBody>
                    <a:bodyPr/>
                    <a:lstStyle/>
                    <a:p>
                      <a:pPr algn="ctr"/>
                      <a:r>
                        <a:rPr lang="zh-CN" altLang="zh-CN" sz="1800" kern="1200" dirty="0">
                          <a:solidFill>
                            <a:schemeClr val="dk1"/>
                          </a:solidFill>
                          <a:effectLst/>
                          <a:latin typeface="+mn-lt"/>
                          <a:ea typeface="+mn-ea"/>
                          <a:cs typeface="+mn-cs"/>
                        </a:rPr>
                        <a:t>灵活度很低，对</a:t>
                      </a:r>
                      <a:r>
                        <a:rPr lang="en-US" altLang="zh-CN" sz="1800" kern="1200" dirty="0">
                          <a:solidFill>
                            <a:schemeClr val="dk1"/>
                          </a:solidFill>
                          <a:effectLst/>
                          <a:latin typeface="+mn-lt"/>
                          <a:ea typeface="+mn-ea"/>
                          <a:cs typeface="+mn-cs"/>
                        </a:rPr>
                        <a:t>GPIO</a:t>
                      </a:r>
                      <a:r>
                        <a:rPr lang="zh-CN" altLang="zh-CN" sz="1800" kern="1200" dirty="0">
                          <a:solidFill>
                            <a:schemeClr val="dk1"/>
                          </a:solidFill>
                          <a:effectLst/>
                          <a:latin typeface="+mn-lt"/>
                          <a:ea typeface="+mn-ea"/>
                          <a:cs typeface="+mn-cs"/>
                        </a:rPr>
                        <a:t>的占用较高，信息维度较少</a:t>
                      </a:r>
                      <a:endParaRPr lang="zh-CN" altLang="en-US" sz="2000" dirty="0">
                        <a:solidFill>
                          <a:srgbClr val="FF0000"/>
                        </a:solidFill>
                      </a:endParaRPr>
                    </a:p>
                  </a:txBody>
                  <a:tcPr anchor="ctr"/>
                </a:tc>
                <a:extLst>
                  <a:ext uri="{0D108BD9-81ED-4DB2-BD59-A6C34878D82A}">
                    <a16:rowId xmlns:a16="http://schemas.microsoft.com/office/drawing/2014/main" val="115690975"/>
                  </a:ext>
                </a:extLst>
              </a:tr>
              <a:tr h="751296">
                <a:tc>
                  <a:txBody>
                    <a:bodyPr/>
                    <a:lstStyle/>
                    <a:p>
                      <a:pPr algn="ctr"/>
                      <a:r>
                        <a:rPr lang="en-US" altLang="zh-CN" sz="2000" dirty="0">
                          <a:solidFill>
                            <a:srgbClr val="FF0000"/>
                          </a:solidFill>
                        </a:rPr>
                        <a:t>2</a:t>
                      </a:r>
                      <a:endParaRPr lang="zh-CN" altLang="en-US" sz="2000" dirty="0">
                        <a:solidFill>
                          <a:srgbClr val="FF0000"/>
                        </a:solidFill>
                      </a:endParaRPr>
                    </a:p>
                  </a:txBody>
                  <a:tcPr anchor="ctr"/>
                </a:tc>
                <a:tc>
                  <a:txBody>
                    <a:bodyPr/>
                    <a:lstStyle/>
                    <a:p>
                      <a:pPr algn="ctr"/>
                      <a:r>
                        <a:rPr lang="zh-CN" altLang="zh-CN" sz="1800" kern="1200" dirty="0">
                          <a:solidFill>
                            <a:srgbClr val="FF0000"/>
                          </a:solidFill>
                          <a:effectLst/>
                          <a:latin typeface="+mn-lt"/>
                          <a:ea typeface="+mn-ea"/>
                          <a:cs typeface="+mn-cs"/>
                        </a:rPr>
                        <a:t>显示屏</a:t>
                      </a:r>
                      <a:endParaRPr lang="zh-CN" altLang="en-US" sz="2000" dirty="0">
                        <a:solidFill>
                          <a:srgbClr val="FF0000"/>
                        </a:solidFill>
                      </a:endParaRPr>
                    </a:p>
                  </a:txBody>
                  <a:tcPr anchor="ctr"/>
                </a:tc>
                <a:tc>
                  <a:txBody>
                    <a:bodyPr/>
                    <a:lstStyle/>
                    <a:p>
                      <a:pPr algn="ctr"/>
                      <a:r>
                        <a:rPr lang="zh-CN" altLang="zh-CN" sz="1800" kern="1200" dirty="0">
                          <a:solidFill>
                            <a:srgbClr val="FF0000"/>
                          </a:solidFill>
                          <a:effectLst/>
                          <a:latin typeface="+mn-lt"/>
                          <a:ea typeface="+mn-ea"/>
                          <a:cs typeface="+mn-cs"/>
                        </a:rPr>
                        <a:t>更好的互动效果，信息密度高，灵活度高，便于与其他多媒体设备结合</a:t>
                      </a:r>
                      <a:endParaRPr lang="zh-CN" altLang="en-US" sz="2000" dirty="0">
                        <a:solidFill>
                          <a:srgbClr val="FF0000"/>
                        </a:solidFill>
                      </a:endParaRPr>
                    </a:p>
                  </a:txBody>
                  <a:tcPr anchor="ctr"/>
                </a:tc>
                <a:tc>
                  <a:txBody>
                    <a:bodyPr/>
                    <a:lstStyle/>
                    <a:p>
                      <a:pPr algn="ctr"/>
                      <a:r>
                        <a:rPr lang="zh-CN" altLang="zh-CN" sz="1800" kern="1200" dirty="0">
                          <a:solidFill>
                            <a:srgbClr val="FF0000"/>
                          </a:solidFill>
                          <a:effectLst/>
                          <a:latin typeface="+mn-lt"/>
                          <a:ea typeface="+mn-ea"/>
                          <a:cs typeface="+mn-cs"/>
                        </a:rPr>
                        <a:t>成本较高，实现难度较大，可能不易维护</a:t>
                      </a:r>
                      <a:endParaRPr lang="zh-CN" altLang="en-US" sz="2000" dirty="0">
                        <a:solidFill>
                          <a:srgbClr val="FF0000"/>
                        </a:solidFill>
                      </a:endParaRPr>
                    </a:p>
                  </a:txBody>
                  <a:tcPr anchor="ctr"/>
                </a:tc>
                <a:extLst>
                  <a:ext uri="{0D108BD9-81ED-4DB2-BD59-A6C34878D82A}">
                    <a16:rowId xmlns:a16="http://schemas.microsoft.com/office/drawing/2014/main" val="10973212"/>
                  </a:ext>
                </a:extLst>
              </a:tr>
            </a:tbl>
          </a:graphicData>
        </a:graphic>
      </p:graphicFrame>
      <p:sp>
        <p:nvSpPr>
          <p:cNvPr id="12" name="文本框 11">
            <a:extLst>
              <a:ext uri="{FF2B5EF4-FFF2-40B4-BE49-F238E27FC236}">
                <a16:creationId xmlns:a16="http://schemas.microsoft.com/office/drawing/2014/main" id="{845033A5-D1F4-9967-407A-57F63313B483}"/>
              </a:ext>
            </a:extLst>
          </p:cNvPr>
          <p:cNvSpPr txBox="1"/>
          <p:nvPr/>
        </p:nvSpPr>
        <p:spPr>
          <a:xfrm>
            <a:off x="582967" y="4518337"/>
            <a:ext cx="11026066" cy="1569660"/>
          </a:xfrm>
          <a:prstGeom prst="rect">
            <a:avLst/>
          </a:prstGeom>
          <a:noFill/>
        </p:spPr>
        <p:txBody>
          <a:bodyPr wrap="square">
            <a:spAutoFit/>
          </a:bodyPr>
          <a:lstStyle/>
          <a:p>
            <a:r>
              <a:rPr lang="zh-CN" altLang="zh-CN" sz="2400" dirty="0">
                <a:effectLst/>
                <a:latin typeface="黑体" panose="02010609060101010101" pitchFamily="49" charset="-122"/>
                <a:ea typeface="黑体" panose="02010609060101010101" pitchFamily="49" charset="-122"/>
                <a:cs typeface="Times New Roman" panose="02020603050405020304" pitchFamily="18" charset="0"/>
              </a:rPr>
              <a:t>操作设备有以下几种方案：</a:t>
            </a:r>
            <a:r>
              <a:rPr lang="zh-CN" altLang="zh-CN" sz="2400" dirty="0">
                <a:solidFill>
                  <a:srgbClr val="FF0000"/>
                </a:solidFill>
                <a:effectLst/>
                <a:latin typeface="黑体" panose="02010609060101010101" pitchFamily="49" charset="-122"/>
                <a:ea typeface="黑体" panose="02010609060101010101" pitchFamily="49" charset="-122"/>
                <a:cs typeface="Times New Roman" panose="02020603050405020304" pitchFamily="18" charset="0"/>
              </a:rPr>
              <a:t>摇杆式</a:t>
            </a:r>
            <a:r>
              <a:rPr lang="zh-CN" altLang="zh-CN" sz="2400" dirty="0">
                <a:effectLst/>
                <a:latin typeface="黑体" panose="02010609060101010101" pitchFamily="49" charset="-122"/>
                <a:ea typeface="黑体" panose="02010609060101010101" pitchFamily="49" charset="-122"/>
                <a:cs typeface="Times New Roman" panose="02020603050405020304" pitchFamily="18" charset="0"/>
              </a:rPr>
              <a:t>，触摸式，按钮式。其中摇杆式的特点是控制运动机构更加直观，人机工效更高，但所占据空间更大；触摸式的特点是长时间使用更加省力，但容易误触，不够直观且鲁棒性不佳；按钮式的属性则处于二者之间。</a:t>
            </a:r>
            <a:endParaRPr lang="zh-CN" altLang="en-US" sz="2400" dirty="0">
              <a:latin typeface="黑体" panose="02010609060101010101" pitchFamily="49" charset="-122"/>
              <a:ea typeface="黑体" panose="02010609060101010101" pitchFamily="49" charset="-122"/>
            </a:endParaRPr>
          </a:p>
        </p:txBody>
      </p:sp>
      <p:sp>
        <p:nvSpPr>
          <p:cNvPr id="4" name="灯片编号占位符 3">
            <a:extLst>
              <a:ext uri="{FF2B5EF4-FFF2-40B4-BE49-F238E27FC236}">
                <a16:creationId xmlns:a16="http://schemas.microsoft.com/office/drawing/2014/main" id="{9E61B07C-29BF-41CB-B162-7D0A99EEAA1C}"/>
              </a:ext>
            </a:extLst>
          </p:cNvPr>
          <p:cNvSpPr>
            <a:spLocks noGrp="1"/>
          </p:cNvSpPr>
          <p:nvPr>
            <p:ph type="sldNum" sz="quarter" idx="12"/>
          </p:nvPr>
        </p:nvSpPr>
        <p:spPr/>
        <p:txBody>
          <a:bodyPr/>
          <a:lstStyle/>
          <a:p>
            <a:fld id="{565CE74E-AB26-4998-AD42-012C4C1AD076}" type="slidenum">
              <a:rPr lang="zh-CN" altLang="en-US" smtClean="0"/>
              <a:t>17</a:t>
            </a:fld>
            <a:endParaRPr lang="zh-CN" altLang="en-US"/>
          </a:p>
        </p:txBody>
      </p:sp>
    </p:spTree>
    <p:extLst>
      <p:ext uri="{BB962C8B-B14F-4D97-AF65-F5344CB8AC3E}">
        <p14:creationId xmlns:p14="http://schemas.microsoft.com/office/powerpoint/2010/main" val="2980514358"/>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1665"/>
          </a:xfrm>
          <a:prstGeom prst="rect">
            <a:avLst/>
          </a:prstGeom>
          <a:noFill/>
        </p:spPr>
        <p:txBody>
          <a:bodyPr wrap="square">
            <a:spAutoFit/>
          </a:bodyPr>
          <a:lstStyle/>
          <a:p>
            <a:pPr lvl="0">
              <a:defRPr/>
            </a:pPr>
            <a:r>
              <a:rPr lang="en-US" altLang="zh-CN" sz="2400" dirty="0">
                <a:solidFill>
                  <a:prstClr val="white"/>
                </a:solidFill>
                <a:latin typeface="HelveticaExt-Normal"/>
                <a:ea typeface="OPPOSans B"/>
              </a:rPr>
              <a:t>3.3 </a:t>
            </a:r>
            <a:r>
              <a:rPr lang="zh-CN" altLang="zh-CN" sz="2400" dirty="0">
                <a:solidFill>
                  <a:prstClr val="white"/>
                </a:solidFill>
                <a:latin typeface="HelveticaExt-Normal"/>
                <a:ea typeface="OPPOSans B"/>
              </a:rPr>
              <a:t>展品</a:t>
            </a:r>
            <a:r>
              <a:rPr lang="zh-CN" altLang="en-US" sz="2400" dirty="0">
                <a:solidFill>
                  <a:prstClr val="white"/>
                </a:solidFill>
                <a:latin typeface="HelveticaExt-Normal"/>
                <a:ea typeface="OPPOSans B"/>
              </a:rPr>
              <a:t>子</a:t>
            </a:r>
            <a:r>
              <a:rPr lang="zh-CN" altLang="zh-CN" sz="2400" dirty="0">
                <a:solidFill>
                  <a:prstClr val="white"/>
                </a:solidFill>
                <a:latin typeface="HelveticaExt-Normal"/>
                <a:ea typeface="OPPOSans B"/>
              </a:rPr>
              <a:t>功能</a:t>
            </a:r>
            <a:r>
              <a:rPr lang="zh-CN" altLang="en-US" sz="2400" dirty="0">
                <a:solidFill>
                  <a:prstClr val="white"/>
                </a:solidFill>
                <a:latin typeface="HelveticaExt-Normal"/>
                <a:ea typeface="OPPOSans B"/>
              </a:rPr>
              <a:t>实现原理方案</a:t>
            </a: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4">
              <a:biLevel thresh="25000"/>
            </a:blip>
            <a:srcRect l="30188"/>
            <a:stretch>
              <a:fillRect/>
            </a:stretch>
          </p:blipFill>
          <p:spPr>
            <a:xfrm>
              <a:off x="10483399" y="211219"/>
              <a:ext cx="1621585" cy="701101"/>
            </a:xfrm>
            <a:prstGeom prst="rect">
              <a:avLst/>
            </a:prstGeom>
          </p:spPr>
        </p:pic>
      </p:grpSp>
      <p:sp>
        <p:nvSpPr>
          <p:cNvPr id="7" name="文本框 6">
            <a:extLst>
              <a:ext uri="{FF2B5EF4-FFF2-40B4-BE49-F238E27FC236}">
                <a16:creationId xmlns:a16="http://schemas.microsoft.com/office/drawing/2014/main" id="{3C99CF63-85EF-3BEE-E80D-8E215EE98239}"/>
              </a:ext>
            </a:extLst>
          </p:cNvPr>
          <p:cNvSpPr txBox="1"/>
          <p:nvPr/>
        </p:nvSpPr>
        <p:spPr>
          <a:xfrm>
            <a:off x="-131694" y="1063993"/>
            <a:ext cx="10724194" cy="490840"/>
          </a:xfrm>
          <a:prstGeom prst="rect">
            <a:avLst/>
          </a:prstGeom>
          <a:noFill/>
        </p:spPr>
        <p:txBody>
          <a:bodyPr wrap="square">
            <a:spAutoFit/>
          </a:bodyPr>
          <a:lstStyle/>
          <a:p>
            <a:pPr indent="304800" algn="just">
              <a:lnSpc>
                <a:spcPct val="150000"/>
              </a:lnSpc>
            </a:pPr>
            <a:r>
              <a:rPr lang="zh-CN" altLang="en-US" sz="2000" kern="100" dirty="0">
                <a:latin typeface="黑体" panose="02010609060101010101" pitchFamily="49" charset="-122"/>
                <a:ea typeface="黑体" panose="02010609060101010101" pitchFamily="49" charset="-122"/>
                <a:cs typeface="Times New Roman" panose="02020603050405020304" pitchFamily="18" charset="0"/>
              </a:rPr>
              <a:t>通过前面的对比与评估，我们最终拟定的方案如下：</a:t>
            </a:r>
            <a:endParaRPr lang="zh-CN" altLang="zh-CN" sz="2000" kern="100" dirty="0">
              <a:latin typeface="黑体" panose="02010609060101010101" pitchFamily="49" charset="-122"/>
              <a:ea typeface="黑体" panose="02010609060101010101" pitchFamily="49" charset="-122"/>
              <a:cs typeface="Times New Roman" panose="02020603050405020304" pitchFamily="18" charset="0"/>
            </a:endParaRPr>
          </a:p>
        </p:txBody>
      </p:sp>
      <p:graphicFrame>
        <p:nvGraphicFramePr>
          <p:cNvPr id="2" name="表格 1">
            <a:extLst>
              <a:ext uri="{FF2B5EF4-FFF2-40B4-BE49-F238E27FC236}">
                <a16:creationId xmlns:a16="http://schemas.microsoft.com/office/drawing/2014/main" id="{24A10C4A-CA6E-5A34-8D6E-4E1CB340A779}"/>
              </a:ext>
            </a:extLst>
          </p:cNvPr>
          <p:cNvGraphicFramePr>
            <a:graphicFrameLocks noGrp="1"/>
          </p:cNvGraphicFramePr>
          <p:nvPr>
            <p:extLst>
              <p:ext uri="{D42A27DB-BD31-4B8C-83A1-F6EECF244321}">
                <p14:modId xmlns:p14="http://schemas.microsoft.com/office/powerpoint/2010/main" val="1151372553"/>
              </p:ext>
            </p:extLst>
          </p:nvPr>
        </p:nvGraphicFramePr>
        <p:xfrm>
          <a:off x="791849" y="2836454"/>
          <a:ext cx="10508514" cy="1502592"/>
        </p:xfrm>
        <a:graphic>
          <a:graphicData uri="http://schemas.openxmlformats.org/drawingml/2006/table">
            <a:tbl>
              <a:tblPr firstRow="1" bandRow="1">
                <a:tableStyleId>{5C22544A-7EE6-4342-B048-85BDC9FD1C3A}</a:tableStyleId>
              </a:tblPr>
              <a:tblGrid>
                <a:gridCol w="1486218">
                  <a:extLst>
                    <a:ext uri="{9D8B030D-6E8A-4147-A177-3AD203B41FA5}">
                      <a16:colId xmlns:a16="http://schemas.microsoft.com/office/drawing/2014/main" val="2960751985"/>
                    </a:ext>
                  </a:extLst>
                </a:gridCol>
                <a:gridCol w="2510492">
                  <a:extLst>
                    <a:ext uri="{9D8B030D-6E8A-4147-A177-3AD203B41FA5}">
                      <a16:colId xmlns:a16="http://schemas.microsoft.com/office/drawing/2014/main" val="2724842575"/>
                    </a:ext>
                  </a:extLst>
                </a:gridCol>
                <a:gridCol w="2104008">
                  <a:extLst>
                    <a:ext uri="{9D8B030D-6E8A-4147-A177-3AD203B41FA5}">
                      <a16:colId xmlns:a16="http://schemas.microsoft.com/office/drawing/2014/main" val="1562208017"/>
                    </a:ext>
                  </a:extLst>
                </a:gridCol>
                <a:gridCol w="2281561">
                  <a:extLst>
                    <a:ext uri="{9D8B030D-6E8A-4147-A177-3AD203B41FA5}">
                      <a16:colId xmlns:a16="http://schemas.microsoft.com/office/drawing/2014/main" val="1715407234"/>
                    </a:ext>
                  </a:extLst>
                </a:gridCol>
                <a:gridCol w="2126235">
                  <a:extLst>
                    <a:ext uri="{9D8B030D-6E8A-4147-A177-3AD203B41FA5}">
                      <a16:colId xmlns:a16="http://schemas.microsoft.com/office/drawing/2014/main" val="1331976028"/>
                    </a:ext>
                  </a:extLst>
                </a:gridCol>
              </a:tblGrid>
              <a:tr h="751296">
                <a:tc>
                  <a:txBody>
                    <a:bodyPr/>
                    <a:lstStyle/>
                    <a:p>
                      <a:pPr algn="ctr"/>
                      <a:r>
                        <a:rPr lang="zh-CN" altLang="en-US" sz="2400" dirty="0">
                          <a:solidFill>
                            <a:schemeClr val="bg1"/>
                          </a:solidFill>
                        </a:rPr>
                        <a:t>子系统</a:t>
                      </a:r>
                    </a:p>
                  </a:txBody>
                  <a:tcPr anchor="ctr"/>
                </a:tc>
                <a:tc>
                  <a:txBody>
                    <a:bodyPr/>
                    <a:lstStyle/>
                    <a:p>
                      <a:pPr algn="ctr"/>
                      <a:r>
                        <a:rPr lang="zh-CN" altLang="en-US" sz="2400" dirty="0">
                          <a:solidFill>
                            <a:schemeClr val="bg1"/>
                          </a:solidFill>
                        </a:rPr>
                        <a:t>运动机构</a:t>
                      </a:r>
                    </a:p>
                  </a:txBody>
                  <a:tcPr anchor="ctr"/>
                </a:tc>
                <a:tc>
                  <a:txBody>
                    <a:bodyPr/>
                    <a:lstStyle/>
                    <a:p>
                      <a:pPr algn="ctr"/>
                      <a:r>
                        <a:rPr lang="zh-CN" altLang="en-US" sz="2400" dirty="0">
                          <a:solidFill>
                            <a:schemeClr val="bg1"/>
                          </a:solidFill>
                        </a:rPr>
                        <a:t>传感系统</a:t>
                      </a:r>
                    </a:p>
                  </a:txBody>
                  <a:tcPr anchor="ctr"/>
                </a:tc>
                <a:tc>
                  <a:txBody>
                    <a:bodyPr/>
                    <a:lstStyle/>
                    <a:p>
                      <a:pPr algn="ctr"/>
                      <a:r>
                        <a:rPr lang="zh-CN" altLang="en-US" sz="2400" dirty="0">
                          <a:solidFill>
                            <a:schemeClr val="bg1"/>
                          </a:solidFill>
                        </a:rPr>
                        <a:t>控制系统</a:t>
                      </a:r>
                    </a:p>
                  </a:txBody>
                  <a:tcPr anchor="ctr"/>
                </a:tc>
                <a:tc>
                  <a:txBody>
                    <a:bodyPr/>
                    <a:lstStyle/>
                    <a:p>
                      <a:pPr algn="ctr"/>
                      <a:r>
                        <a:rPr lang="zh-CN" altLang="en-US" sz="2400" dirty="0">
                          <a:solidFill>
                            <a:schemeClr val="bg1"/>
                          </a:solidFill>
                        </a:rPr>
                        <a:t>交互系统</a:t>
                      </a:r>
                    </a:p>
                  </a:txBody>
                  <a:tcPr anchor="ctr"/>
                </a:tc>
                <a:extLst>
                  <a:ext uri="{0D108BD9-81ED-4DB2-BD59-A6C34878D82A}">
                    <a16:rowId xmlns:a16="http://schemas.microsoft.com/office/drawing/2014/main" val="4275149588"/>
                  </a:ext>
                </a:extLst>
              </a:tr>
              <a:tr h="751296">
                <a:tc>
                  <a:txBody>
                    <a:bodyPr/>
                    <a:lstStyle/>
                    <a:p>
                      <a:pPr algn="ctr"/>
                      <a:r>
                        <a:rPr lang="zh-CN" altLang="en-US" sz="2400" b="1" kern="1200" dirty="0">
                          <a:solidFill>
                            <a:srgbClr val="660874"/>
                          </a:solidFill>
                          <a:latin typeface="+mn-lt"/>
                          <a:ea typeface="+mn-ea"/>
                          <a:cs typeface="+mn-cs"/>
                        </a:rPr>
                        <a:t>方案选择</a:t>
                      </a:r>
                    </a:p>
                  </a:txBody>
                  <a:tcPr anchor="ctr"/>
                </a:tc>
                <a:tc>
                  <a:txBody>
                    <a:bodyPr/>
                    <a:lstStyle/>
                    <a:p>
                      <a:pPr algn="ctr"/>
                      <a:r>
                        <a:rPr lang="zh-CN" altLang="en-US" sz="2400" b="1" kern="1200" dirty="0">
                          <a:solidFill>
                            <a:srgbClr val="660874"/>
                          </a:solidFill>
                          <a:latin typeface="+mn-lt"/>
                          <a:ea typeface="+mn-ea"/>
                          <a:cs typeface="+mn-cs"/>
                        </a:rPr>
                        <a:t>电机</a:t>
                      </a:r>
                      <a:r>
                        <a:rPr lang="en-US" altLang="zh-CN" sz="2400" b="1" kern="1200" dirty="0">
                          <a:solidFill>
                            <a:srgbClr val="660874"/>
                          </a:solidFill>
                          <a:latin typeface="+mn-lt"/>
                          <a:ea typeface="+mn-ea"/>
                          <a:cs typeface="+mn-cs"/>
                        </a:rPr>
                        <a:t>+</a:t>
                      </a:r>
                      <a:r>
                        <a:rPr lang="zh-CN" altLang="en-US" sz="2400" b="1" kern="1200" dirty="0">
                          <a:solidFill>
                            <a:srgbClr val="660874"/>
                          </a:solidFill>
                          <a:latin typeface="+mn-lt"/>
                          <a:ea typeface="+mn-ea"/>
                          <a:cs typeface="+mn-cs"/>
                        </a:rPr>
                        <a:t>舵机驱动</a:t>
                      </a:r>
                    </a:p>
                  </a:txBody>
                  <a:tcPr anchor="ctr"/>
                </a:tc>
                <a:tc>
                  <a:txBody>
                    <a:bodyPr/>
                    <a:lstStyle/>
                    <a:p>
                      <a:pPr algn="ctr"/>
                      <a:r>
                        <a:rPr lang="zh-CN" altLang="en-US" sz="2400" b="1" kern="1200" dirty="0">
                          <a:solidFill>
                            <a:srgbClr val="660874"/>
                          </a:solidFill>
                          <a:latin typeface="+mn-lt"/>
                          <a:ea typeface="+mn-ea"/>
                          <a:cs typeface="+mn-cs"/>
                        </a:rPr>
                        <a:t>位置传感器</a:t>
                      </a:r>
                    </a:p>
                  </a:txBody>
                  <a:tcPr anchor="ctr"/>
                </a:tc>
                <a:tc>
                  <a:txBody>
                    <a:bodyPr/>
                    <a:lstStyle/>
                    <a:p>
                      <a:pPr algn="ctr"/>
                      <a:r>
                        <a:rPr lang="en-US" altLang="zh-CN" sz="2400" b="1" kern="1200" dirty="0">
                          <a:solidFill>
                            <a:srgbClr val="660874"/>
                          </a:solidFill>
                          <a:latin typeface="+mn-lt"/>
                          <a:ea typeface="+mn-ea"/>
                          <a:cs typeface="+mn-cs"/>
                        </a:rPr>
                        <a:t>STM32+</a:t>
                      </a:r>
                      <a:r>
                        <a:rPr lang="zh-CN" altLang="en-US" sz="2400" b="1" kern="1200" dirty="0">
                          <a:solidFill>
                            <a:srgbClr val="660874"/>
                          </a:solidFill>
                          <a:latin typeface="+mn-lt"/>
                          <a:ea typeface="+mn-ea"/>
                          <a:cs typeface="+mn-cs"/>
                        </a:rPr>
                        <a:t>树莓派</a:t>
                      </a:r>
                    </a:p>
                  </a:txBody>
                  <a:tcPr anchor="ctr"/>
                </a:tc>
                <a:tc>
                  <a:txBody>
                    <a:bodyPr/>
                    <a:lstStyle/>
                    <a:p>
                      <a:pPr algn="ctr"/>
                      <a:r>
                        <a:rPr lang="zh-CN" altLang="en-US" sz="2400" b="1" kern="1200" dirty="0">
                          <a:solidFill>
                            <a:srgbClr val="660874"/>
                          </a:solidFill>
                          <a:latin typeface="+mn-lt"/>
                          <a:ea typeface="+mn-ea"/>
                          <a:cs typeface="+mn-cs"/>
                        </a:rPr>
                        <a:t>显示屏</a:t>
                      </a:r>
                      <a:r>
                        <a:rPr lang="en-US" altLang="zh-CN" sz="2400" b="1" kern="1200" dirty="0">
                          <a:solidFill>
                            <a:srgbClr val="660874"/>
                          </a:solidFill>
                          <a:latin typeface="+mn-lt"/>
                          <a:ea typeface="+mn-ea"/>
                          <a:cs typeface="+mn-cs"/>
                        </a:rPr>
                        <a:t>+</a:t>
                      </a:r>
                      <a:r>
                        <a:rPr lang="zh-CN" altLang="en-US" sz="2400" b="1" kern="1200" dirty="0">
                          <a:solidFill>
                            <a:srgbClr val="660874"/>
                          </a:solidFill>
                          <a:latin typeface="+mn-lt"/>
                          <a:ea typeface="+mn-ea"/>
                          <a:cs typeface="+mn-cs"/>
                        </a:rPr>
                        <a:t>摇杆</a:t>
                      </a:r>
                    </a:p>
                  </a:txBody>
                  <a:tcPr anchor="ctr"/>
                </a:tc>
                <a:extLst>
                  <a:ext uri="{0D108BD9-81ED-4DB2-BD59-A6C34878D82A}">
                    <a16:rowId xmlns:a16="http://schemas.microsoft.com/office/drawing/2014/main" val="115690975"/>
                  </a:ext>
                </a:extLst>
              </a:tr>
            </a:tbl>
          </a:graphicData>
        </a:graphic>
      </p:graphicFrame>
      <p:sp>
        <p:nvSpPr>
          <p:cNvPr id="4" name="灯片编号占位符 3">
            <a:extLst>
              <a:ext uri="{FF2B5EF4-FFF2-40B4-BE49-F238E27FC236}">
                <a16:creationId xmlns:a16="http://schemas.microsoft.com/office/drawing/2014/main" id="{06684C96-C5B1-4C5C-B655-8F09D8033DDF}"/>
              </a:ext>
            </a:extLst>
          </p:cNvPr>
          <p:cNvSpPr>
            <a:spLocks noGrp="1"/>
          </p:cNvSpPr>
          <p:nvPr>
            <p:ph type="sldNum" sz="quarter" idx="12"/>
          </p:nvPr>
        </p:nvSpPr>
        <p:spPr/>
        <p:txBody>
          <a:bodyPr/>
          <a:lstStyle/>
          <a:p>
            <a:fld id="{565CE74E-AB26-4998-AD42-012C4C1AD076}" type="slidenum">
              <a:rPr lang="zh-CN" altLang="en-US" smtClean="0"/>
              <a:t>18</a:t>
            </a:fld>
            <a:endParaRPr lang="zh-CN" altLang="en-US"/>
          </a:p>
        </p:txBody>
      </p:sp>
    </p:spTree>
    <p:extLst>
      <p:ext uri="{BB962C8B-B14F-4D97-AF65-F5344CB8AC3E}">
        <p14:creationId xmlns:p14="http://schemas.microsoft.com/office/powerpoint/2010/main" val="2985378369"/>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65334"/>
            <a:ext cx="12192000" cy="8831509"/>
          </a:xfrm>
          <a:prstGeom prst="rect">
            <a:avLst/>
          </a:prstGeom>
        </p:spPr>
      </p:pic>
      <p:sp>
        <p:nvSpPr>
          <p:cNvPr id="5" name="矩形 4"/>
          <p:cNvSpPr/>
          <p:nvPr/>
        </p:nvSpPr>
        <p:spPr>
          <a:xfrm>
            <a:off x="0" y="0"/>
            <a:ext cx="12192000" cy="7688943"/>
          </a:xfrm>
          <a:prstGeom prst="rect">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1" name="组合 20"/>
          <p:cNvGrpSpPr/>
          <p:nvPr/>
        </p:nvGrpSpPr>
        <p:grpSpPr>
          <a:xfrm>
            <a:off x="-2846530" y="-1770744"/>
            <a:ext cx="8399978" cy="7688943"/>
            <a:chOff x="-2846530" y="-1770744"/>
            <a:chExt cx="8399978" cy="7688943"/>
          </a:xfrm>
        </p:grpSpPr>
        <p:sp>
          <p:nvSpPr>
            <p:cNvPr id="2" name="椭圆 1"/>
            <p:cNvSpPr/>
            <p:nvPr/>
          </p:nvSpPr>
          <p:spPr>
            <a:xfrm>
              <a:off x="-2846530" y="-1770744"/>
              <a:ext cx="7688943" cy="7688943"/>
            </a:xfrm>
            <a:prstGeom prst="ellipse">
              <a:avLst/>
            </a:prstGeom>
            <a:gradFill>
              <a:gsLst>
                <a:gs pos="0">
                  <a:srgbClr val="703881"/>
                </a:gs>
                <a:gs pos="66000">
                  <a:srgbClr val="882959"/>
                </a:gs>
              </a:gsLst>
              <a:lin ang="5400000" scaled="1"/>
            </a:gradFill>
            <a:ln>
              <a:noFill/>
            </a:ln>
            <a:effectLst>
              <a:outerShdw blurRad="2794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5" name="文本框 14"/>
            <p:cNvSpPr txBox="1"/>
            <p:nvPr/>
          </p:nvSpPr>
          <p:spPr>
            <a:xfrm>
              <a:off x="-1214742" y="1161142"/>
              <a:ext cx="6768190" cy="37702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3900" b="0" i="0" u="none" strike="noStrike" kern="1200" cap="none" spc="0" normalizeH="0" baseline="0" noProof="0" dirty="0">
                  <a:ln>
                    <a:noFill/>
                  </a:ln>
                  <a:solidFill>
                    <a:prstClr val="white"/>
                  </a:solidFill>
                  <a:effectLst>
                    <a:outerShdw blurRad="63500" sx="101000" sy="101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rPr>
                <a:t>04</a:t>
              </a:r>
              <a:endParaRPr kumimoji="0" lang="zh-CN" altLang="en-US" sz="23900" b="0" i="0" u="none" strike="noStrike" kern="1200" cap="none" spc="0" normalizeH="0" baseline="0" noProof="0" dirty="0">
                <a:ln>
                  <a:noFill/>
                </a:ln>
                <a:solidFill>
                  <a:prstClr val="white"/>
                </a:solidFill>
                <a:effectLst>
                  <a:outerShdw blurRad="63500" sx="101000" sy="101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endParaRPr>
            </a:p>
          </p:txBody>
        </p:sp>
      </p:grpSp>
      <p:grpSp>
        <p:nvGrpSpPr>
          <p:cNvPr id="18" name="组合 17"/>
          <p:cNvGrpSpPr/>
          <p:nvPr/>
        </p:nvGrpSpPr>
        <p:grpSpPr>
          <a:xfrm>
            <a:off x="5140956" y="2474962"/>
            <a:ext cx="6477909" cy="1104149"/>
            <a:chOff x="5862081" y="2617371"/>
            <a:chExt cx="6477909" cy="1104149"/>
          </a:xfrm>
        </p:grpSpPr>
        <p:sp>
          <p:nvSpPr>
            <p:cNvPr id="16" name="文本框 15"/>
            <p:cNvSpPr txBox="1"/>
            <p:nvPr/>
          </p:nvSpPr>
          <p:spPr>
            <a:xfrm>
              <a:off x="5862082" y="2617371"/>
              <a:ext cx="6477908" cy="1015663"/>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6000" b="1"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原理设计方案</a:t>
              </a:r>
            </a:p>
          </p:txBody>
        </p:sp>
        <p:sp>
          <p:nvSpPr>
            <p:cNvPr id="17" name="文本框 16"/>
            <p:cNvSpPr txBox="1"/>
            <p:nvPr/>
          </p:nvSpPr>
          <p:spPr>
            <a:xfrm>
              <a:off x="5862081" y="3506076"/>
              <a:ext cx="6477909" cy="215444"/>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rPr>
                <a:t>Principle Design Scheme</a:t>
              </a:r>
              <a:endParaRPr kumimoji="0" lang="zh-CN" altLang="en-US" sz="8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p:txBody>
        </p:sp>
      </p:grpSp>
      <p:sp>
        <p:nvSpPr>
          <p:cNvPr id="19" name="圆: 空心 18"/>
          <p:cNvSpPr/>
          <p:nvPr/>
        </p:nvSpPr>
        <p:spPr>
          <a:xfrm>
            <a:off x="10808543" y="5670073"/>
            <a:ext cx="2766913" cy="2766913"/>
          </a:xfrm>
          <a:prstGeom prst="donut">
            <a:avLst/>
          </a:prstGeom>
          <a:gradFill>
            <a:gsLst>
              <a:gs pos="0">
                <a:srgbClr val="703881"/>
              </a:gs>
              <a:gs pos="66000">
                <a:srgbClr val="88295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6" name="灯片编号占位符 5">
            <a:extLst>
              <a:ext uri="{FF2B5EF4-FFF2-40B4-BE49-F238E27FC236}">
                <a16:creationId xmlns:a16="http://schemas.microsoft.com/office/drawing/2014/main" id="{728F8E49-B461-4F03-A2DC-144F533FB873}"/>
              </a:ext>
            </a:extLst>
          </p:cNvPr>
          <p:cNvSpPr>
            <a:spLocks noGrp="1"/>
          </p:cNvSpPr>
          <p:nvPr>
            <p:ph type="sldNum" sz="quarter" idx="12"/>
          </p:nvPr>
        </p:nvSpPr>
        <p:spPr/>
        <p:txBody>
          <a:bodyPr/>
          <a:lstStyle/>
          <a:p>
            <a:fld id="{565CE74E-AB26-4998-AD42-012C4C1AD076}" type="slidenum">
              <a:rPr lang="zh-CN" altLang="en-US" smtClean="0"/>
              <a:t>19</a:t>
            </a:fld>
            <a:endParaRPr lang="zh-CN" altLang="en-US"/>
          </a:p>
        </p:txBody>
      </p:sp>
    </p:spTree>
    <p:custDataLst>
      <p:tags r:id="rId1"/>
    </p:custDataLst>
  </p:cSld>
  <p:clrMapOvr>
    <a:masterClrMapping/>
  </p:clrMapOvr>
  <p:transition spd="slow" advTm="242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par>
                                <p:cTn id="10" presetID="22" presetClass="entr" presetSubtype="8" fill="hold"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wipe(left)">
                                      <p:cBhvr>
                                        <p:cTn id="12" dur="500"/>
                                        <p:tgtEl>
                                          <p:spTgt spid="18"/>
                                        </p:tgtEl>
                                      </p:cBhvr>
                                    </p:animEffect>
                                  </p:childTnLst>
                                </p:cTn>
                              </p:par>
                              <p:par>
                                <p:cTn id="13" presetID="42"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1000"/>
                                        <p:tgtEl>
                                          <p:spTgt spid="19"/>
                                        </p:tgtEl>
                                      </p:cBhvr>
                                    </p:animEffect>
                                    <p:anim calcmode="lin" valueType="num">
                                      <p:cBhvr>
                                        <p:cTn id="16" dur="1000" fill="hold"/>
                                        <p:tgtEl>
                                          <p:spTgt spid="19"/>
                                        </p:tgtEl>
                                        <p:attrNameLst>
                                          <p:attrName>ppt_x</p:attrName>
                                        </p:attrNameLst>
                                      </p:cBhvr>
                                      <p:tavLst>
                                        <p:tav tm="0">
                                          <p:val>
                                            <p:strVal val="#ppt_x"/>
                                          </p:val>
                                        </p:tav>
                                        <p:tav tm="100000">
                                          <p:val>
                                            <p:strVal val="#ppt_x"/>
                                          </p:val>
                                        </p:tav>
                                      </p:tavLst>
                                    </p:anim>
                                    <p:anim calcmode="lin" valueType="num">
                                      <p:cBhvr>
                                        <p:cTn id="17"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 空心 1"/>
          <p:cNvSpPr/>
          <p:nvPr/>
        </p:nvSpPr>
        <p:spPr>
          <a:xfrm>
            <a:off x="10619015" y="3380819"/>
            <a:ext cx="704850" cy="704850"/>
          </a:xfrm>
          <a:prstGeom prst="donut">
            <a:avLst/>
          </a:prstGeom>
          <a:solidFill>
            <a:srgbClr val="BE8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grpSp>
        <p:nvGrpSpPr>
          <p:cNvPr id="39" name="组合 38"/>
          <p:cNvGrpSpPr/>
          <p:nvPr/>
        </p:nvGrpSpPr>
        <p:grpSpPr>
          <a:xfrm>
            <a:off x="1352550" y="779502"/>
            <a:ext cx="2656640" cy="1107996"/>
            <a:chOff x="1352550" y="779502"/>
            <a:chExt cx="2656640" cy="1107996"/>
          </a:xfrm>
        </p:grpSpPr>
        <p:sp>
          <p:nvSpPr>
            <p:cNvPr id="4" name="文本框 3"/>
            <p:cNvSpPr txBox="1"/>
            <p:nvPr/>
          </p:nvSpPr>
          <p:spPr>
            <a:xfrm>
              <a:off x="1352550" y="779502"/>
              <a:ext cx="7048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6600" b="0" i="0" u="none" strike="noStrike" kern="1200" cap="none" spc="0" normalizeH="0" baseline="0" noProof="0" dirty="0">
                  <a:ln>
                    <a:noFill/>
                  </a:ln>
                  <a:solidFill>
                    <a:srgbClr val="703881"/>
                  </a:solidFill>
                  <a:effectLst>
                    <a:outerShdw blurRad="63500" sx="102000" sy="102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rPr>
                <a:t>C</a:t>
              </a:r>
              <a:endParaRPr kumimoji="0" lang="zh-CN" altLang="en-US" sz="6600" b="0" i="0" u="none" strike="noStrike" kern="1200" cap="none" spc="0" normalizeH="0" baseline="0" noProof="0" dirty="0">
                <a:ln>
                  <a:noFill/>
                </a:ln>
                <a:solidFill>
                  <a:srgbClr val="703881"/>
                </a:solidFill>
                <a:effectLst>
                  <a:outerShdw blurRad="63500" sx="102000" sy="102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endParaRPr>
            </a:p>
          </p:txBody>
        </p:sp>
        <p:sp>
          <p:nvSpPr>
            <p:cNvPr id="5" name="文本框 4"/>
            <p:cNvSpPr txBox="1"/>
            <p:nvPr/>
          </p:nvSpPr>
          <p:spPr>
            <a:xfrm>
              <a:off x="2057400" y="1249276"/>
              <a:ext cx="1951790" cy="46166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srgbClr val="BE8DCD"/>
                  </a:solidFill>
                  <a:effectLst/>
                  <a:uLnTx/>
                  <a:uFillTx/>
                  <a:latin typeface="思源黑体 CN Medium" panose="020B0600000000000000" pitchFamily="34" charset="-122"/>
                  <a:ea typeface="思源黑体 CN Medium" panose="020B0600000000000000" pitchFamily="34" charset="-122"/>
                  <a:cs typeface="+mn-cs"/>
                </a:rPr>
                <a:t>ONTENTES</a:t>
              </a:r>
              <a:endParaRPr kumimoji="0" lang="zh-CN" altLang="en-US" sz="2400" b="0" i="0" u="none" strike="noStrike" kern="1200" cap="none" spc="0" normalizeH="0" baseline="0" noProof="0" dirty="0">
                <a:ln>
                  <a:noFill/>
                </a:ln>
                <a:solidFill>
                  <a:srgbClr val="BE8DCD"/>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6" name="文本框 5"/>
            <p:cNvSpPr txBox="1"/>
            <p:nvPr/>
          </p:nvSpPr>
          <p:spPr>
            <a:xfrm>
              <a:off x="2540384" y="848231"/>
              <a:ext cx="973931" cy="461665"/>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black">
                      <a:lumMod val="85000"/>
                      <a:lumOff val="15000"/>
                    </a:prstClr>
                  </a:solidFill>
                  <a:effectLst/>
                  <a:uLnTx/>
                  <a:uFillTx/>
                  <a:latin typeface="Calibri" panose="020F0502020204030204"/>
                  <a:ea typeface="微软雅黑" panose="020B0503020204020204" charset="-122"/>
                  <a:cs typeface="+mn-cs"/>
                </a:rPr>
                <a:t>目录</a:t>
              </a:r>
            </a:p>
          </p:txBody>
        </p:sp>
      </p:grpSp>
      <p:sp>
        <p:nvSpPr>
          <p:cNvPr id="7" name="矩形: 圆角 6"/>
          <p:cNvSpPr/>
          <p:nvPr/>
        </p:nvSpPr>
        <p:spPr>
          <a:xfrm>
            <a:off x="1220561" y="1747115"/>
            <a:ext cx="9750879" cy="92975"/>
          </a:xfrm>
          <a:prstGeom prst="roundRect">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3" name="圆: 空心 12"/>
          <p:cNvSpPr/>
          <p:nvPr/>
        </p:nvSpPr>
        <p:spPr>
          <a:xfrm>
            <a:off x="-2188765" y="4734917"/>
            <a:ext cx="4246165" cy="4246165"/>
          </a:xfrm>
          <a:prstGeom prst="donut">
            <a:avLst/>
          </a:prstGeom>
          <a:gradFill>
            <a:gsLst>
              <a:gs pos="0">
                <a:srgbClr val="703881"/>
              </a:gs>
              <a:gs pos="66000">
                <a:srgbClr val="882959"/>
              </a:gs>
            </a:gsLst>
            <a:lin ang="5400000" scaled="1"/>
          </a:gra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grpSp>
        <p:nvGrpSpPr>
          <p:cNvPr id="16" name="组合 15"/>
          <p:cNvGrpSpPr/>
          <p:nvPr/>
        </p:nvGrpSpPr>
        <p:grpSpPr>
          <a:xfrm>
            <a:off x="2057400" y="2742054"/>
            <a:ext cx="3702129" cy="538348"/>
            <a:chOff x="1922065" y="2510352"/>
            <a:chExt cx="3702129" cy="538348"/>
          </a:xfrm>
        </p:grpSpPr>
        <p:grpSp>
          <p:nvGrpSpPr>
            <p:cNvPr id="11" name="组合 10"/>
            <p:cNvGrpSpPr/>
            <p:nvPr/>
          </p:nvGrpSpPr>
          <p:grpSpPr>
            <a:xfrm>
              <a:off x="1922065" y="2526002"/>
              <a:ext cx="660400" cy="522698"/>
              <a:chOff x="1730792" y="2452119"/>
              <a:chExt cx="660400" cy="522698"/>
            </a:xfrm>
          </p:grpSpPr>
          <p:sp>
            <p:nvSpPr>
              <p:cNvPr id="9" name="矩形 8"/>
              <p:cNvSpPr/>
              <p:nvPr/>
            </p:nvSpPr>
            <p:spPr>
              <a:xfrm rot="2693629">
                <a:off x="1799643" y="2452119"/>
                <a:ext cx="522698" cy="522698"/>
              </a:xfrm>
              <a:prstGeom prst="rect">
                <a:avLst/>
              </a:prstGeom>
              <a:solidFill>
                <a:srgbClr val="70388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0" name="文本框 9"/>
              <p:cNvSpPr txBox="1"/>
              <p:nvPr/>
            </p:nvSpPr>
            <p:spPr>
              <a:xfrm>
                <a:off x="1730792" y="2482636"/>
                <a:ext cx="6604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rPr>
                  <a:t>01</a:t>
                </a:r>
                <a:endParaRPr kumimoji="0" lang="zh-CN" altLang="en-US"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endParaRPr>
              </a:p>
            </p:txBody>
          </p:sp>
        </p:grpSp>
        <p:sp>
          <p:nvSpPr>
            <p:cNvPr id="12" name="文本框 11"/>
            <p:cNvSpPr txBox="1"/>
            <p:nvPr/>
          </p:nvSpPr>
          <p:spPr>
            <a:xfrm>
              <a:off x="2731769" y="2510352"/>
              <a:ext cx="2892425" cy="46166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选题与展示设计</a:t>
              </a:r>
            </a:p>
          </p:txBody>
        </p:sp>
      </p:grpSp>
      <p:grpSp>
        <p:nvGrpSpPr>
          <p:cNvPr id="17" name="组合 16"/>
          <p:cNvGrpSpPr/>
          <p:nvPr/>
        </p:nvGrpSpPr>
        <p:grpSpPr>
          <a:xfrm>
            <a:off x="2057400" y="4085669"/>
            <a:ext cx="3702129" cy="538348"/>
            <a:chOff x="1922065" y="2510352"/>
            <a:chExt cx="3702129" cy="538348"/>
          </a:xfrm>
        </p:grpSpPr>
        <p:grpSp>
          <p:nvGrpSpPr>
            <p:cNvPr id="18" name="组合 17"/>
            <p:cNvGrpSpPr/>
            <p:nvPr/>
          </p:nvGrpSpPr>
          <p:grpSpPr>
            <a:xfrm>
              <a:off x="1922065" y="2526002"/>
              <a:ext cx="660400" cy="522698"/>
              <a:chOff x="1730792" y="2452119"/>
              <a:chExt cx="660400" cy="522698"/>
            </a:xfrm>
          </p:grpSpPr>
          <p:sp>
            <p:nvSpPr>
              <p:cNvPr id="22" name="矩形 21"/>
              <p:cNvSpPr/>
              <p:nvPr/>
            </p:nvSpPr>
            <p:spPr>
              <a:xfrm rot="2693629">
                <a:off x="1799643" y="2452119"/>
                <a:ext cx="522698" cy="522698"/>
              </a:xfrm>
              <a:prstGeom prst="rect">
                <a:avLst/>
              </a:prstGeom>
              <a:solidFill>
                <a:srgbClr val="70388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23" name="文本框 22"/>
              <p:cNvSpPr txBox="1"/>
              <p:nvPr/>
            </p:nvSpPr>
            <p:spPr>
              <a:xfrm>
                <a:off x="1730792" y="2482636"/>
                <a:ext cx="6604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rPr>
                  <a:t>03</a:t>
                </a:r>
                <a:endParaRPr kumimoji="0" lang="zh-CN" altLang="en-US"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endParaRPr>
              </a:p>
            </p:txBody>
          </p:sp>
        </p:grpSp>
        <p:sp>
          <p:nvSpPr>
            <p:cNvPr id="20" name="文本框 19"/>
            <p:cNvSpPr txBox="1"/>
            <p:nvPr/>
          </p:nvSpPr>
          <p:spPr>
            <a:xfrm>
              <a:off x="2731770" y="2510352"/>
              <a:ext cx="2892424" cy="46166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概念功能设计</a:t>
              </a:r>
            </a:p>
          </p:txBody>
        </p:sp>
      </p:grpSp>
      <p:grpSp>
        <p:nvGrpSpPr>
          <p:cNvPr id="24" name="组合 23"/>
          <p:cNvGrpSpPr/>
          <p:nvPr/>
        </p:nvGrpSpPr>
        <p:grpSpPr>
          <a:xfrm>
            <a:off x="6565900" y="2742054"/>
            <a:ext cx="3608103" cy="538348"/>
            <a:chOff x="1922065" y="2510352"/>
            <a:chExt cx="3608103" cy="538348"/>
          </a:xfrm>
        </p:grpSpPr>
        <p:grpSp>
          <p:nvGrpSpPr>
            <p:cNvPr id="25" name="组合 24"/>
            <p:cNvGrpSpPr/>
            <p:nvPr/>
          </p:nvGrpSpPr>
          <p:grpSpPr>
            <a:xfrm>
              <a:off x="1922065" y="2526002"/>
              <a:ext cx="660400" cy="522698"/>
              <a:chOff x="1730792" y="2452119"/>
              <a:chExt cx="660400" cy="522698"/>
            </a:xfrm>
          </p:grpSpPr>
          <p:sp>
            <p:nvSpPr>
              <p:cNvPr id="29" name="矩形 28"/>
              <p:cNvSpPr/>
              <p:nvPr/>
            </p:nvSpPr>
            <p:spPr>
              <a:xfrm rot="2693629">
                <a:off x="1799643" y="2452119"/>
                <a:ext cx="522698" cy="522698"/>
              </a:xfrm>
              <a:prstGeom prst="rect">
                <a:avLst/>
              </a:prstGeom>
              <a:solidFill>
                <a:srgbClr val="70388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30" name="文本框 29"/>
              <p:cNvSpPr txBox="1"/>
              <p:nvPr/>
            </p:nvSpPr>
            <p:spPr>
              <a:xfrm>
                <a:off x="1730792" y="2482636"/>
                <a:ext cx="6604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rPr>
                  <a:t>02</a:t>
                </a:r>
                <a:endParaRPr kumimoji="0" lang="zh-CN" altLang="en-US"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endParaRPr>
              </a:p>
            </p:txBody>
          </p:sp>
        </p:grpSp>
        <p:sp>
          <p:nvSpPr>
            <p:cNvPr id="27" name="文本框 26"/>
            <p:cNvSpPr txBox="1"/>
            <p:nvPr/>
          </p:nvSpPr>
          <p:spPr>
            <a:xfrm>
              <a:off x="2731770" y="2510352"/>
              <a:ext cx="2798398" cy="46166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设计任务</a:t>
              </a:r>
            </a:p>
          </p:txBody>
        </p:sp>
      </p:grpSp>
      <p:grpSp>
        <p:nvGrpSpPr>
          <p:cNvPr id="31" name="组合 30"/>
          <p:cNvGrpSpPr/>
          <p:nvPr/>
        </p:nvGrpSpPr>
        <p:grpSpPr>
          <a:xfrm>
            <a:off x="6565900" y="4085669"/>
            <a:ext cx="3608101" cy="538348"/>
            <a:chOff x="1922065" y="2510352"/>
            <a:chExt cx="3608101" cy="538348"/>
          </a:xfrm>
        </p:grpSpPr>
        <p:grpSp>
          <p:nvGrpSpPr>
            <p:cNvPr id="32" name="组合 31"/>
            <p:cNvGrpSpPr/>
            <p:nvPr/>
          </p:nvGrpSpPr>
          <p:grpSpPr>
            <a:xfrm>
              <a:off x="1922065" y="2526002"/>
              <a:ext cx="660400" cy="522698"/>
              <a:chOff x="1730792" y="2452119"/>
              <a:chExt cx="660400" cy="522698"/>
            </a:xfrm>
          </p:grpSpPr>
          <p:sp>
            <p:nvSpPr>
              <p:cNvPr id="36" name="矩形 35"/>
              <p:cNvSpPr/>
              <p:nvPr/>
            </p:nvSpPr>
            <p:spPr>
              <a:xfrm rot="2693629">
                <a:off x="1799643" y="2452119"/>
                <a:ext cx="522698" cy="522698"/>
              </a:xfrm>
              <a:prstGeom prst="rect">
                <a:avLst/>
              </a:prstGeom>
              <a:solidFill>
                <a:srgbClr val="70388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37" name="文本框 36"/>
              <p:cNvSpPr txBox="1"/>
              <p:nvPr/>
            </p:nvSpPr>
            <p:spPr>
              <a:xfrm>
                <a:off x="1730792" y="2482636"/>
                <a:ext cx="6604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rPr>
                  <a:t>04</a:t>
                </a:r>
                <a:endParaRPr kumimoji="0" lang="zh-CN" altLang="en-US"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思源黑体 CN Bold" panose="020B0800000000000000" pitchFamily="34" charset="-122"/>
                  <a:ea typeface="思源黑体 CN Bold" panose="020B0800000000000000" pitchFamily="34" charset="-122"/>
                  <a:cs typeface="+mn-cs"/>
                </a:endParaRPr>
              </a:p>
            </p:txBody>
          </p:sp>
        </p:grpSp>
        <p:sp>
          <p:nvSpPr>
            <p:cNvPr id="34" name="文本框 33"/>
            <p:cNvSpPr txBox="1"/>
            <p:nvPr/>
          </p:nvSpPr>
          <p:spPr>
            <a:xfrm>
              <a:off x="2731769" y="2510352"/>
              <a:ext cx="2798397" cy="46166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defRPr/>
              </a:pPr>
              <a:r>
                <a:rPr lang="zh-CN" altLang="en-US" sz="2400" b="1" dirty="0">
                  <a:solidFill>
                    <a:prstClr val="black">
                      <a:lumMod val="75000"/>
                      <a:lumOff val="25000"/>
                    </a:prstClr>
                  </a:solidFill>
                  <a:latin typeface="思源黑体 CN Medium" panose="020B0600000000000000" pitchFamily="34" charset="-122"/>
                  <a:ea typeface="思源黑体 CN Medium" panose="020B0600000000000000" pitchFamily="34" charset="-122"/>
                </a:rPr>
                <a:t>原理方案设计</a:t>
              </a:r>
              <a:endParaRPr kumimoji="0" lang="zh-CN" altLang="en-US" sz="2400" b="1"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p:txBody>
        </p:sp>
      </p:grpSp>
      <p:sp>
        <p:nvSpPr>
          <p:cNvPr id="38" name="椭圆 37"/>
          <p:cNvSpPr/>
          <p:nvPr/>
        </p:nvSpPr>
        <p:spPr>
          <a:xfrm>
            <a:off x="9782629" y="5544457"/>
            <a:ext cx="351971" cy="351971"/>
          </a:xfrm>
          <a:prstGeom prst="ellipse">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grpSp>
        <p:nvGrpSpPr>
          <p:cNvPr id="44" name="组合 43"/>
          <p:cNvGrpSpPr>
            <a:grpSpLocks noChangeAspect="1"/>
          </p:cNvGrpSpPr>
          <p:nvPr/>
        </p:nvGrpSpPr>
        <p:grpSpPr>
          <a:xfrm>
            <a:off x="9993231" y="221203"/>
            <a:ext cx="2053964" cy="600680"/>
            <a:chOff x="2685028" y="2876682"/>
            <a:chExt cx="5502784" cy="1656004"/>
          </a:xfrm>
        </p:grpSpPr>
        <p:sp>
          <p:nvSpPr>
            <p:cNvPr id="45" name="i$ľïdê"/>
            <p:cNvSpPr/>
            <p:nvPr userDrawn="1"/>
          </p:nvSpPr>
          <p:spPr>
            <a:xfrm>
              <a:off x="4486927" y="2876682"/>
              <a:ext cx="3699559" cy="1174043"/>
            </a:xfrm>
            <a:custGeom>
              <a:avLst/>
              <a:gdLst>
                <a:gd name="connsiteX0" fmla="*/ 3528743 w 3812022"/>
                <a:gd name="connsiteY0" fmla="*/ 1166183 h 1325394"/>
                <a:gd name="connsiteX1" fmla="*/ 3537795 w 3812022"/>
                <a:gd name="connsiteY1" fmla="*/ 1178430 h 1325394"/>
                <a:gd name="connsiteX2" fmla="*/ 3528743 w 3812022"/>
                <a:gd name="connsiteY2" fmla="*/ 1258302 h 1325394"/>
                <a:gd name="connsiteX3" fmla="*/ 3234282 w 3812022"/>
                <a:gd name="connsiteY3" fmla="*/ 1082322 h 1325394"/>
                <a:gd name="connsiteX4" fmla="*/ 3234282 w 3812022"/>
                <a:gd name="connsiteY4" fmla="*/ 1163814 h 1325394"/>
                <a:gd name="connsiteX5" fmla="*/ 3194545 w 3812022"/>
                <a:gd name="connsiteY5" fmla="*/ 1145948 h 1325394"/>
                <a:gd name="connsiteX6" fmla="*/ 3179436 w 3812022"/>
                <a:gd name="connsiteY6" fmla="*/ 1110272 h 1325394"/>
                <a:gd name="connsiteX7" fmla="*/ 3429169 w 3812022"/>
                <a:gd name="connsiteY7" fmla="*/ 1002179 h 1325394"/>
                <a:gd name="connsiteX8" fmla="*/ 3528210 w 3812022"/>
                <a:gd name="connsiteY8" fmla="*/ 1004309 h 1325394"/>
                <a:gd name="connsiteX9" fmla="*/ 3528210 w 3812022"/>
                <a:gd name="connsiteY9" fmla="*/ 1113467 h 1325394"/>
                <a:gd name="connsiteX10" fmla="*/ 3528210 w 3812022"/>
                <a:gd name="connsiteY10" fmla="*/ 1166183 h 1325394"/>
                <a:gd name="connsiteX11" fmla="*/ 3528210 w 3812022"/>
                <a:gd name="connsiteY11" fmla="*/ 1258302 h 1325394"/>
                <a:gd name="connsiteX12" fmla="*/ 3467508 w 3812022"/>
                <a:gd name="connsiteY12" fmla="*/ 1325394 h 1325394"/>
                <a:gd name="connsiteX13" fmla="*/ 3260373 w 3812022"/>
                <a:gd name="connsiteY13" fmla="*/ 1211443 h 1325394"/>
                <a:gd name="connsiteX14" fmla="*/ 3440351 w 3812022"/>
                <a:gd name="connsiteY14" fmla="*/ 1243925 h 1325394"/>
                <a:gd name="connsiteX15" fmla="*/ 3440351 w 3812022"/>
                <a:gd name="connsiteY15" fmla="*/ 1117727 h 1325394"/>
                <a:gd name="connsiteX16" fmla="*/ 3310959 w 3812022"/>
                <a:gd name="connsiteY16" fmla="*/ 1173105 h 1325394"/>
                <a:gd name="connsiteX17" fmla="*/ 3234282 w 3812022"/>
                <a:gd name="connsiteY17" fmla="*/ 1164053 h 1325394"/>
                <a:gd name="connsiteX18" fmla="*/ 3234282 w 3812022"/>
                <a:gd name="connsiteY18" fmla="*/ 1163814 h 1325394"/>
                <a:gd name="connsiteX19" fmla="*/ 3234814 w 3812022"/>
                <a:gd name="connsiteY19" fmla="*/ 1164053 h 1325394"/>
                <a:gd name="connsiteX20" fmla="*/ 3234814 w 3812022"/>
                <a:gd name="connsiteY20" fmla="*/ 1082051 h 1325394"/>
                <a:gd name="connsiteX21" fmla="*/ 3234282 w 3812022"/>
                <a:gd name="connsiteY21" fmla="*/ 1082322 h 1325394"/>
                <a:gd name="connsiteX22" fmla="*/ 3234282 w 3812022"/>
                <a:gd name="connsiteY22" fmla="*/ 1082051 h 1325394"/>
                <a:gd name="connsiteX23" fmla="*/ 3391896 w 3812022"/>
                <a:gd name="connsiteY23" fmla="*/ 1031465 h 1325394"/>
                <a:gd name="connsiteX24" fmla="*/ 3429169 w 3812022"/>
                <a:gd name="connsiteY24" fmla="*/ 1002179 h 1325394"/>
                <a:gd name="connsiteX25" fmla="*/ 3580394 w 3812022"/>
                <a:gd name="connsiteY25" fmla="*/ 994192 h 1325394"/>
                <a:gd name="connsiteX26" fmla="*/ 3644824 w 3812022"/>
                <a:gd name="connsiteY26" fmla="*/ 1024543 h 1325394"/>
                <a:gd name="connsiteX27" fmla="*/ 3528743 w 3812022"/>
                <a:gd name="connsiteY27" fmla="*/ 1113467 h 1325394"/>
                <a:gd name="connsiteX28" fmla="*/ 3528743 w 3812022"/>
                <a:gd name="connsiteY28" fmla="*/ 1004309 h 1325394"/>
                <a:gd name="connsiteX29" fmla="*/ 3580394 w 3812022"/>
                <a:gd name="connsiteY29" fmla="*/ 994192 h 1325394"/>
                <a:gd name="connsiteX30" fmla="*/ 2529346 w 3812022"/>
                <a:gd name="connsiteY30" fmla="*/ 901606 h 1325394"/>
                <a:gd name="connsiteX31" fmla="*/ 2547916 w 3812022"/>
                <a:gd name="connsiteY31" fmla="*/ 909528 h 1325394"/>
                <a:gd name="connsiteX32" fmla="*/ 2608619 w 3812022"/>
                <a:gd name="connsiteY32" fmla="*/ 977152 h 1325394"/>
                <a:gd name="connsiteX33" fmla="*/ 2718842 w 3812022"/>
                <a:gd name="connsiteY33" fmla="*/ 1051700 h 1325394"/>
                <a:gd name="connsiteX34" fmla="*/ 2803506 w 3812022"/>
                <a:gd name="connsiteY34" fmla="*/ 1057557 h 1325394"/>
                <a:gd name="connsiteX35" fmla="*/ 2668256 w 3812022"/>
                <a:gd name="connsiteY35" fmla="*/ 1154468 h 1325394"/>
                <a:gd name="connsiteX36" fmla="*/ 2629918 w 3812022"/>
                <a:gd name="connsiteY36" fmla="*/ 1145416 h 1325394"/>
                <a:gd name="connsiteX37" fmla="*/ 2608619 w 3812022"/>
                <a:gd name="connsiteY37" fmla="*/ 1124649 h 1325394"/>
                <a:gd name="connsiteX38" fmla="*/ 2518629 w 3812022"/>
                <a:gd name="connsiteY38" fmla="*/ 951061 h 1325394"/>
                <a:gd name="connsiteX39" fmla="*/ 2517565 w 3812022"/>
                <a:gd name="connsiteY39" fmla="*/ 903670 h 1325394"/>
                <a:gd name="connsiteX40" fmla="*/ 2529346 w 3812022"/>
                <a:gd name="connsiteY40" fmla="*/ 901606 h 1325394"/>
                <a:gd name="connsiteX41" fmla="*/ 1595483 w 3812022"/>
                <a:gd name="connsiteY41" fmla="*/ 881273 h 1325394"/>
                <a:gd name="connsiteX42" fmla="*/ 1578801 w 3812022"/>
                <a:gd name="connsiteY42" fmla="*/ 881839 h 1325394"/>
                <a:gd name="connsiteX43" fmla="*/ 1563892 w 3812022"/>
                <a:gd name="connsiteY43" fmla="*/ 881839 h 1325394"/>
                <a:gd name="connsiteX44" fmla="*/ 1552710 w 3812022"/>
                <a:gd name="connsiteY44" fmla="*/ 890358 h 1325394"/>
                <a:gd name="connsiteX45" fmla="*/ 1529281 w 3812022"/>
                <a:gd name="connsiteY45" fmla="*/ 1001647 h 1325394"/>
                <a:gd name="connsiteX46" fmla="*/ 1552710 w 3812022"/>
                <a:gd name="connsiteY46" fmla="*/ 992595 h 1325394"/>
                <a:gd name="connsiteX47" fmla="*/ 1578801 w 3812022"/>
                <a:gd name="connsiteY47" fmla="*/ 977685 h 1325394"/>
                <a:gd name="connsiteX48" fmla="*/ 1630452 w 3812022"/>
                <a:gd name="connsiteY48" fmla="*/ 922307 h 1325394"/>
                <a:gd name="connsiteX49" fmla="*/ 1595483 w 3812022"/>
                <a:gd name="connsiteY49" fmla="*/ 881273 h 1325394"/>
                <a:gd name="connsiteX50" fmla="*/ 578273 w 3812022"/>
                <a:gd name="connsiteY50" fmla="*/ 855746 h 1325394"/>
                <a:gd name="connsiteX51" fmla="*/ 576143 w 3812022"/>
                <a:gd name="connsiteY51" fmla="*/ 870122 h 1325394"/>
                <a:gd name="connsiteX52" fmla="*/ 577208 w 3812022"/>
                <a:gd name="connsiteY52" fmla="*/ 885032 h 1325394"/>
                <a:gd name="connsiteX53" fmla="*/ 577208 w 3812022"/>
                <a:gd name="connsiteY53" fmla="*/ 899409 h 1325394"/>
                <a:gd name="connsiteX54" fmla="*/ 583065 w 3812022"/>
                <a:gd name="connsiteY54" fmla="*/ 911656 h 1325394"/>
                <a:gd name="connsiteX55" fmla="*/ 609157 w 3812022"/>
                <a:gd name="connsiteY55" fmla="*/ 921773 h 1325394"/>
                <a:gd name="connsiteX56" fmla="*/ 610222 w 3812022"/>
                <a:gd name="connsiteY56" fmla="*/ 922838 h 1325394"/>
                <a:gd name="connsiteX57" fmla="*/ 610222 w 3812022"/>
                <a:gd name="connsiteY57" fmla="*/ 869058 h 1325394"/>
                <a:gd name="connsiteX58" fmla="*/ 609157 w 3812022"/>
                <a:gd name="connsiteY58" fmla="*/ 866928 h 1325394"/>
                <a:gd name="connsiteX59" fmla="*/ 578273 w 3812022"/>
                <a:gd name="connsiteY59" fmla="*/ 855746 h 1325394"/>
                <a:gd name="connsiteX60" fmla="*/ 3589446 w 3812022"/>
                <a:gd name="connsiteY60" fmla="*/ 757771 h 1325394"/>
                <a:gd name="connsiteX61" fmla="*/ 3566017 w 3812022"/>
                <a:gd name="connsiteY61" fmla="*/ 760965 h 1325394"/>
                <a:gd name="connsiteX62" fmla="*/ 3528743 w 3812022"/>
                <a:gd name="connsiteY62" fmla="*/ 790252 h 1325394"/>
                <a:gd name="connsiteX63" fmla="*/ 3528743 w 3812022"/>
                <a:gd name="connsiteY63" fmla="*/ 790784 h 1325394"/>
                <a:gd name="connsiteX64" fmla="*/ 3469105 w 3812022"/>
                <a:gd name="connsiteY64" fmla="*/ 863734 h 1325394"/>
                <a:gd name="connsiteX65" fmla="*/ 3528743 w 3812022"/>
                <a:gd name="connsiteY65" fmla="*/ 824331 h 1325394"/>
                <a:gd name="connsiteX66" fmla="*/ 3589446 w 3812022"/>
                <a:gd name="connsiteY66" fmla="*/ 757771 h 1325394"/>
                <a:gd name="connsiteX67" fmla="*/ 600104 w 3812022"/>
                <a:gd name="connsiteY67" fmla="*/ 741795 h 1325394"/>
                <a:gd name="connsiteX68" fmla="*/ 601169 w 3812022"/>
                <a:gd name="connsiteY68" fmla="*/ 782796 h 1325394"/>
                <a:gd name="connsiteX69" fmla="*/ 609157 w 3812022"/>
                <a:gd name="connsiteY69" fmla="*/ 785991 h 1325394"/>
                <a:gd name="connsiteX70" fmla="*/ 616079 w 3812022"/>
                <a:gd name="connsiteY70" fmla="*/ 790250 h 1325394"/>
                <a:gd name="connsiteX71" fmla="*/ 620339 w 3812022"/>
                <a:gd name="connsiteY71" fmla="*/ 749782 h 1325394"/>
                <a:gd name="connsiteX72" fmla="*/ 609157 w 3812022"/>
                <a:gd name="connsiteY72" fmla="*/ 742860 h 1325394"/>
                <a:gd name="connsiteX73" fmla="*/ 600104 w 3812022"/>
                <a:gd name="connsiteY73" fmla="*/ 741795 h 1325394"/>
                <a:gd name="connsiteX74" fmla="*/ 3661538 w 3812022"/>
                <a:gd name="connsiteY74" fmla="*/ 687708 h 1325394"/>
                <a:gd name="connsiteX75" fmla="*/ 3722566 w 3812022"/>
                <a:gd name="connsiteY75" fmla="*/ 730614 h 1325394"/>
                <a:gd name="connsiteX76" fmla="*/ 3618732 w 3812022"/>
                <a:gd name="connsiteY76" fmla="*/ 834448 h 1325394"/>
                <a:gd name="connsiteX77" fmla="*/ 3528743 w 3812022"/>
                <a:gd name="connsiteY77" fmla="*/ 887163 h 1325394"/>
                <a:gd name="connsiteX78" fmla="*/ 3402545 w 3812022"/>
                <a:gd name="connsiteY78" fmla="*/ 978217 h 1325394"/>
                <a:gd name="connsiteX79" fmla="*/ 3385506 w 3812022"/>
                <a:gd name="connsiteY79" fmla="*/ 977152 h 1325394"/>
                <a:gd name="connsiteX80" fmla="*/ 3460053 w 3812022"/>
                <a:gd name="connsiteY80" fmla="*/ 875981 h 1325394"/>
                <a:gd name="connsiteX81" fmla="*/ 3455793 w 3812022"/>
                <a:gd name="connsiteY81" fmla="*/ 867994 h 1325394"/>
                <a:gd name="connsiteX82" fmla="*/ 3356752 w 3812022"/>
                <a:gd name="connsiteY82" fmla="*/ 919644 h 1325394"/>
                <a:gd name="connsiteX83" fmla="*/ 3263568 w 3812022"/>
                <a:gd name="connsiteY83" fmla="*/ 925502 h 1325394"/>
                <a:gd name="connsiteX84" fmla="*/ 3238542 w 3812022"/>
                <a:gd name="connsiteY84" fmla="*/ 916450 h 1325394"/>
                <a:gd name="connsiteX85" fmla="*/ 3249724 w 3812022"/>
                <a:gd name="connsiteY85" fmla="*/ 890358 h 1325394"/>
                <a:gd name="connsiteX86" fmla="*/ 3509574 w 3812022"/>
                <a:gd name="connsiteY86" fmla="*/ 757771 h 1325394"/>
                <a:gd name="connsiteX87" fmla="*/ 3528743 w 3812022"/>
                <a:gd name="connsiteY87" fmla="*/ 746588 h 1325394"/>
                <a:gd name="connsiteX88" fmla="*/ 3634706 w 3812022"/>
                <a:gd name="connsiteY88" fmla="*/ 690146 h 1325394"/>
                <a:gd name="connsiteX89" fmla="*/ 3661538 w 3812022"/>
                <a:gd name="connsiteY89" fmla="*/ 687708 h 1325394"/>
                <a:gd name="connsiteX90" fmla="*/ 3106487 w 3812022"/>
                <a:gd name="connsiteY90" fmla="*/ 648612 h 1325394"/>
                <a:gd name="connsiteX91" fmla="*/ 3233749 w 3812022"/>
                <a:gd name="connsiteY91" fmla="*/ 667781 h 1325394"/>
                <a:gd name="connsiteX92" fmla="*/ 3234814 w 3812022"/>
                <a:gd name="connsiteY92" fmla="*/ 665652 h 1325394"/>
                <a:gd name="connsiteX93" fmla="*/ 3234814 w 3812022"/>
                <a:gd name="connsiteY93" fmla="*/ 750848 h 1325394"/>
                <a:gd name="connsiteX94" fmla="*/ 3225762 w 3812022"/>
                <a:gd name="connsiteY94" fmla="*/ 789187 h 1325394"/>
                <a:gd name="connsiteX95" fmla="*/ 3208723 w 3812022"/>
                <a:gd name="connsiteY95" fmla="*/ 792382 h 1325394"/>
                <a:gd name="connsiteX96" fmla="*/ 3106487 w 3812022"/>
                <a:gd name="connsiteY96" fmla="*/ 661924 h 1325394"/>
                <a:gd name="connsiteX97" fmla="*/ 3106487 w 3812022"/>
                <a:gd name="connsiteY97" fmla="*/ 651807 h 1325394"/>
                <a:gd name="connsiteX98" fmla="*/ 3106487 w 3812022"/>
                <a:gd name="connsiteY98" fmla="*/ 648612 h 1325394"/>
                <a:gd name="connsiteX99" fmla="*/ 1575074 w 3812022"/>
                <a:gd name="connsiteY99" fmla="*/ 608144 h 1325394"/>
                <a:gd name="connsiteX100" fmla="*/ 1552710 w 3812022"/>
                <a:gd name="connsiteY100" fmla="*/ 616131 h 1325394"/>
                <a:gd name="connsiteX101" fmla="*/ 1527684 w 3812022"/>
                <a:gd name="connsiteY101" fmla="*/ 671509 h 1325394"/>
                <a:gd name="connsiteX102" fmla="*/ 1552710 w 3812022"/>
                <a:gd name="connsiteY102" fmla="*/ 655535 h 1325394"/>
                <a:gd name="connsiteX103" fmla="*/ 1575074 w 3812022"/>
                <a:gd name="connsiteY103" fmla="*/ 608144 h 1325394"/>
                <a:gd name="connsiteX104" fmla="*/ 2635775 w 3812022"/>
                <a:gd name="connsiteY104" fmla="*/ 472893 h 1325394"/>
                <a:gd name="connsiteX105" fmla="*/ 2689556 w 3812022"/>
                <a:gd name="connsiteY105" fmla="*/ 508037 h 1325394"/>
                <a:gd name="connsiteX106" fmla="*/ 2608619 w 3812022"/>
                <a:gd name="connsiteY106" fmla="*/ 661392 h 1325394"/>
                <a:gd name="connsiteX107" fmla="*/ 2608619 w 3812022"/>
                <a:gd name="connsiteY107" fmla="*/ 553830 h 1325394"/>
                <a:gd name="connsiteX108" fmla="*/ 2635775 w 3812022"/>
                <a:gd name="connsiteY108" fmla="*/ 472893 h 1325394"/>
                <a:gd name="connsiteX109" fmla="*/ 1655479 w 3812022"/>
                <a:gd name="connsiteY109" fmla="*/ 448932 h 1325394"/>
                <a:gd name="connsiteX110" fmla="*/ 1578801 w 3812022"/>
                <a:gd name="connsiteY110" fmla="*/ 495257 h 1325394"/>
                <a:gd name="connsiteX111" fmla="*/ 1552710 w 3812022"/>
                <a:gd name="connsiteY111" fmla="*/ 523480 h 1325394"/>
                <a:gd name="connsiteX112" fmla="*/ 1542061 w 3812022"/>
                <a:gd name="connsiteY112" fmla="*/ 562351 h 1325394"/>
                <a:gd name="connsiteX113" fmla="*/ 1552177 w 3812022"/>
                <a:gd name="connsiteY113" fmla="*/ 558091 h 1325394"/>
                <a:gd name="connsiteX114" fmla="*/ 1578269 w 3812022"/>
                <a:gd name="connsiteY114" fmla="*/ 545844 h 1325394"/>
                <a:gd name="connsiteX115" fmla="*/ 1642699 w 3812022"/>
                <a:gd name="connsiteY115" fmla="*/ 481413 h 1325394"/>
                <a:gd name="connsiteX116" fmla="*/ 1667726 w 3812022"/>
                <a:gd name="connsiteY116" fmla="*/ 461179 h 1325394"/>
                <a:gd name="connsiteX117" fmla="*/ 1666661 w 3812022"/>
                <a:gd name="connsiteY117" fmla="*/ 449997 h 1325394"/>
                <a:gd name="connsiteX118" fmla="*/ 1655479 w 3812022"/>
                <a:gd name="connsiteY118" fmla="*/ 448932 h 1325394"/>
                <a:gd name="connsiteX119" fmla="*/ 3171982 w 3812022"/>
                <a:gd name="connsiteY119" fmla="*/ 389826 h 1325394"/>
                <a:gd name="connsiteX120" fmla="*/ 3189021 w 3812022"/>
                <a:gd name="connsiteY120" fmla="*/ 403138 h 1325394"/>
                <a:gd name="connsiteX121" fmla="*/ 3234814 w 3812022"/>
                <a:gd name="connsiteY121" fmla="*/ 454789 h 1325394"/>
                <a:gd name="connsiteX122" fmla="*/ 3313621 w 3812022"/>
                <a:gd name="connsiteY122" fmla="*/ 520285 h 1325394"/>
                <a:gd name="connsiteX123" fmla="*/ 3234814 w 3812022"/>
                <a:gd name="connsiteY123" fmla="*/ 600156 h 1325394"/>
                <a:gd name="connsiteX124" fmla="*/ 3233749 w 3812022"/>
                <a:gd name="connsiteY124" fmla="*/ 600156 h 1325394"/>
                <a:gd name="connsiteX125" fmla="*/ 3230554 w 3812022"/>
                <a:gd name="connsiteY125" fmla="*/ 538389 h 1325394"/>
                <a:gd name="connsiteX126" fmla="*/ 3171982 w 3812022"/>
                <a:gd name="connsiteY126" fmla="*/ 389826 h 1325394"/>
                <a:gd name="connsiteX127" fmla="*/ 2558565 w 3812022"/>
                <a:gd name="connsiteY127" fmla="*/ 235940 h 1325394"/>
                <a:gd name="connsiteX128" fmla="*/ 2599034 w 3812022"/>
                <a:gd name="connsiteY128" fmla="*/ 279603 h 1325394"/>
                <a:gd name="connsiteX129" fmla="*/ 2550578 w 3812022"/>
                <a:gd name="connsiteY129" fmla="*/ 565545 h 1325394"/>
                <a:gd name="connsiteX130" fmla="*/ 2551643 w 3812022"/>
                <a:gd name="connsiteY130" fmla="*/ 586845 h 1325394"/>
                <a:gd name="connsiteX131" fmla="*/ 2608086 w 3812022"/>
                <a:gd name="connsiteY131" fmla="*/ 553298 h 1325394"/>
                <a:gd name="connsiteX132" fmla="*/ 2608086 w 3812022"/>
                <a:gd name="connsiteY132" fmla="*/ 660327 h 1325394"/>
                <a:gd name="connsiteX133" fmla="*/ 2497863 w 3812022"/>
                <a:gd name="connsiteY133" fmla="*/ 743394 h 1325394"/>
                <a:gd name="connsiteX134" fmla="*/ 2447277 w 3812022"/>
                <a:gd name="connsiteY134" fmla="*/ 890891 h 1325394"/>
                <a:gd name="connsiteX135" fmla="*/ 2113411 w 3812022"/>
                <a:gd name="connsiteY135" fmla="*/ 1193339 h 1325394"/>
                <a:gd name="connsiteX136" fmla="*/ 2110217 w 3812022"/>
                <a:gd name="connsiteY136" fmla="*/ 1183222 h 1325394"/>
                <a:gd name="connsiteX137" fmla="*/ 2114476 w 3812022"/>
                <a:gd name="connsiteY137" fmla="*/ 1174170 h 1325394"/>
                <a:gd name="connsiteX138" fmla="*/ 2394562 w 3812022"/>
                <a:gd name="connsiteY138" fmla="*/ 811551 h 1325394"/>
                <a:gd name="connsiteX139" fmla="*/ 2393497 w 3812022"/>
                <a:gd name="connsiteY139" fmla="*/ 801434 h 1325394"/>
                <a:gd name="connsiteX140" fmla="*/ 2250259 w 3812022"/>
                <a:gd name="connsiteY140" fmla="*/ 827526 h 1325394"/>
                <a:gd name="connsiteX141" fmla="*/ 2286467 w 3812022"/>
                <a:gd name="connsiteY141" fmla="*/ 748719 h 1325394"/>
                <a:gd name="connsiteX142" fmla="*/ 2433965 w 3812022"/>
                <a:gd name="connsiteY142" fmla="*/ 653937 h 1325394"/>
                <a:gd name="connsiteX143" fmla="*/ 2525019 w 3812022"/>
                <a:gd name="connsiteY143" fmla="*/ 300370 h 1325394"/>
                <a:gd name="connsiteX144" fmla="*/ 2558565 w 3812022"/>
                <a:gd name="connsiteY144" fmla="*/ 235940 h 1325394"/>
                <a:gd name="connsiteX145" fmla="*/ 3528210 w 3812022"/>
                <a:gd name="connsiteY145" fmla="*/ 194459 h 1325394"/>
                <a:gd name="connsiteX146" fmla="*/ 3528210 w 3812022"/>
                <a:gd name="connsiteY146" fmla="*/ 484076 h 1325394"/>
                <a:gd name="connsiteX147" fmla="*/ 3528743 w 3812022"/>
                <a:gd name="connsiteY147" fmla="*/ 483543 h 1325394"/>
                <a:gd name="connsiteX148" fmla="*/ 3528743 w 3812022"/>
                <a:gd name="connsiteY148" fmla="*/ 484076 h 1325394"/>
                <a:gd name="connsiteX149" fmla="*/ 3495197 w 3812022"/>
                <a:gd name="connsiteY149" fmla="*/ 562883 h 1325394"/>
                <a:gd name="connsiteX150" fmla="*/ 3517161 w 3812022"/>
                <a:gd name="connsiteY150" fmla="*/ 553165 h 1325394"/>
                <a:gd name="connsiteX151" fmla="*/ 3528210 w 3812022"/>
                <a:gd name="connsiteY151" fmla="*/ 540085 h 1325394"/>
                <a:gd name="connsiteX152" fmla="*/ 3528210 w 3812022"/>
                <a:gd name="connsiteY152" fmla="*/ 656599 h 1325394"/>
                <a:gd name="connsiteX153" fmla="*/ 3528743 w 3812022"/>
                <a:gd name="connsiteY153" fmla="*/ 656327 h 1325394"/>
                <a:gd name="connsiteX154" fmla="*/ 3528743 w 3812022"/>
                <a:gd name="connsiteY154" fmla="*/ 656599 h 1325394"/>
                <a:gd name="connsiteX155" fmla="*/ 3406273 w 3812022"/>
                <a:gd name="connsiteY155" fmla="*/ 719432 h 1325394"/>
                <a:gd name="connsiteX156" fmla="*/ 3403078 w 3812022"/>
                <a:gd name="connsiteY156" fmla="*/ 707185 h 1325394"/>
                <a:gd name="connsiteX157" fmla="*/ 3496262 w 3812022"/>
                <a:gd name="connsiteY157" fmla="*/ 620391 h 1325394"/>
                <a:gd name="connsiteX158" fmla="*/ 3394026 w 3812022"/>
                <a:gd name="connsiteY158" fmla="*/ 629443 h 1325394"/>
                <a:gd name="connsiteX159" fmla="*/ 3246529 w 3812022"/>
                <a:gd name="connsiteY159" fmla="*/ 710380 h 1325394"/>
                <a:gd name="connsiteX160" fmla="*/ 3235347 w 3812022"/>
                <a:gd name="connsiteY160" fmla="*/ 750848 h 1325394"/>
                <a:gd name="connsiteX161" fmla="*/ 3235347 w 3812022"/>
                <a:gd name="connsiteY161" fmla="*/ 665652 h 1325394"/>
                <a:gd name="connsiteX162" fmla="*/ 3367934 w 3812022"/>
                <a:gd name="connsiteY162" fmla="*/ 560753 h 1325394"/>
                <a:gd name="connsiteX163" fmla="*/ 3370064 w 3812022"/>
                <a:gd name="connsiteY163" fmla="*/ 524544 h 1325394"/>
                <a:gd name="connsiteX164" fmla="*/ 3419585 w 3812022"/>
                <a:gd name="connsiteY164" fmla="*/ 520285 h 1325394"/>
                <a:gd name="connsiteX165" fmla="*/ 3511704 w 3812022"/>
                <a:gd name="connsiteY165" fmla="*/ 329123 h 1325394"/>
                <a:gd name="connsiteX166" fmla="*/ 3411598 w 3812022"/>
                <a:gd name="connsiteY166" fmla="*/ 341370 h 1325394"/>
                <a:gd name="connsiteX167" fmla="*/ 3447806 w 3812022"/>
                <a:gd name="connsiteY167" fmla="*/ 282798 h 1325394"/>
                <a:gd name="connsiteX168" fmla="*/ 52315 w 3812022"/>
                <a:gd name="connsiteY168" fmla="*/ 184090 h 1325394"/>
                <a:gd name="connsiteX169" fmla="*/ 88391 w 3812022"/>
                <a:gd name="connsiteY169" fmla="*/ 188017 h 1325394"/>
                <a:gd name="connsiteX170" fmla="*/ 158146 w 3812022"/>
                <a:gd name="connsiteY170" fmla="*/ 272682 h 1325394"/>
                <a:gd name="connsiteX171" fmla="*/ 137912 w 3812022"/>
                <a:gd name="connsiteY171" fmla="*/ 296111 h 1325394"/>
                <a:gd name="connsiteX172" fmla="*/ 102768 w 3812022"/>
                <a:gd name="connsiteY172" fmla="*/ 308358 h 1325394"/>
                <a:gd name="connsiteX173" fmla="*/ 88391 w 3812022"/>
                <a:gd name="connsiteY173" fmla="*/ 309423 h 1325394"/>
                <a:gd name="connsiteX174" fmla="*/ 81469 w 3812022"/>
                <a:gd name="connsiteY174" fmla="*/ 309423 h 1325394"/>
                <a:gd name="connsiteX175" fmla="*/ 65494 w 3812022"/>
                <a:gd name="connsiteY175" fmla="*/ 299306 h 1325394"/>
                <a:gd name="connsiteX176" fmla="*/ 18636 w 3812022"/>
                <a:gd name="connsiteY176" fmla="*/ 186952 h 1325394"/>
                <a:gd name="connsiteX177" fmla="*/ 52315 w 3812022"/>
                <a:gd name="connsiteY177" fmla="*/ 184090 h 1325394"/>
                <a:gd name="connsiteX178" fmla="*/ 697548 w 3812022"/>
                <a:gd name="connsiteY178" fmla="*/ 95897 h 1325394"/>
                <a:gd name="connsiteX179" fmla="*/ 698613 w 3812022"/>
                <a:gd name="connsiteY179" fmla="*/ 166717 h 1325394"/>
                <a:gd name="connsiteX180" fmla="*/ 712990 w 3812022"/>
                <a:gd name="connsiteY180" fmla="*/ 157665 h 1325394"/>
                <a:gd name="connsiteX181" fmla="*/ 727367 w 3812022"/>
                <a:gd name="connsiteY181" fmla="*/ 144353 h 1325394"/>
                <a:gd name="connsiteX182" fmla="*/ 712990 w 3812022"/>
                <a:gd name="connsiteY182" fmla="*/ 99092 h 1325394"/>
                <a:gd name="connsiteX183" fmla="*/ 697548 w 3812022"/>
                <a:gd name="connsiteY183" fmla="*/ 95897 h 1325394"/>
                <a:gd name="connsiteX184" fmla="*/ 1785205 w 3812022"/>
                <a:gd name="connsiteY184" fmla="*/ 42774 h 1325394"/>
                <a:gd name="connsiteX185" fmla="*/ 1825341 w 3812022"/>
                <a:gd name="connsiteY185" fmla="*/ 84183 h 1325394"/>
                <a:gd name="connsiteX186" fmla="*/ 1779015 w 3812022"/>
                <a:gd name="connsiteY186" fmla="*/ 158730 h 1325394"/>
                <a:gd name="connsiteX187" fmla="*/ 1835458 w 3812022"/>
                <a:gd name="connsiteY187" fmla="*/ 118262 h 1325394"/>
                <a:gd name="connsiteX188" fmla="*/ 1895628 w 3812022"/>
                <a:gd name="connsiteY188" fmla="*/ 150211 h 1325394"/>
                <a:gd name="connsiteX189" fmla="*/ 1895628 w 3812022"/>
                <a:gd name="connsiteY189" fmla="*/ 158198 h 1325394"/>
                <a:gd name="connsiteX190" fmla="*/ 1873264 w 3812022"/>
                <a:gd name="connsiteY190" fmla="*/ 191744 h 1325394"/>
                <a:gd name="connsiteX191" fmla="*/ 1646959 w 3812022"/>
                <a:gd name="connsiteY191" fmla="*/ 304097 h 1325394"/>
                <a:gd name="connsiteX192" fmla="*/ 1578269 w 3812022"/>
                <a:gd name="connsiteY192" fmla="*/ 388761 h 1325394"/>
                <a:gd name="connsiteX193" fmla="*/ 1552177 w 3812022"/>
                <a:gd name="connsiteY193" fmla="*/ 408996 h 1325394"/>
                <a:gd name="connsiteX194" fmla="*/ 1536203 w 3812022"/>
                <a:gd name="connsiteY194" fmla="*/ 450529 h 1325394"/>
                <a:gd name="connsiteX195" fmla="*/ 1552177 w 3812022"/>
                <a:gd name="connsiteY195" fmla="*/ 446269 h 1325394"/>
                <a:gd name="connsiteX196" fmla="*/ 1578269 w 3812022"/>
                <a:gd name="connsiteY196" fmla="*/ 432957 h 1325394"/>
                <a:gd name="connsiteX197" fmla="*/ 1765170 w 3812022"/>
                <a:gd name="connsiteY197" fmla="*/ 431892 h 1325394"/>
                <a:gd name="connsiteX198" fmla="*/ 1742807 w 3812022"/>
                <a:gd name="connsiteY198" fmla="*/ 521882 h 1325394"/>
                <a:gd name="connsiteX199" fmla="*/ 1578269 w 3812022"/>
                <a:gd name="connsiteY199" fmla="*/ 711978 h 1325394"/>
                <a:gd name="connsiteX200" fmla="*/ 1552177 w 3812022"/>
                <a:gd name="connsiteY200" fmla="*/ 732212 h 1325394"/>
                <a:gd name="connsiteX201" fmla="*/ 1552177 w 3812022"/>
                <a:gd name="connsiteY201" fmla="*/ 744459 h 1325394"/>
                <a:gd name="connsiteX202" fmla="*/ 1578269 w 3812022"/>
                <a:gd name="connsiteY202" fmla="*/ 737537 h 1325394"/>
                <a:gd name="connsiteX203" fmla="*/ 1734819 w 3812022"/>
                <a:gd name="connsiteY203" fmla="*/ 654470 h 1325394"/>
                <a:gd name="connsiteX204" fmla="*/ 1767300 w 3812022"/>
                <a:gd name="connsiteY204" fmla="*/ 708250 h 1325394"/>
                <a:gd name="connsiteX205" fmla="*/ 1648024 w 3812022"/>
                <a:gd name="connsiteY205" fmla="*/ 823266 h 1325394"/>
                <a:gd name="connsiteX206" fmla="*/ 1726832 w 3812022"/>
                <a:gd name="connsiteY206" fmla="*/ 893021 h 1325394"/>
                <a:gd name="connsiteX207" fmla="*/ 1578269 w 3812022"/>
                <a:gd name="connsiteY207" fmla="*/ 1037323 h 1325394"/>
                <a:gd name="connsiteX208" fmla="*/ 1552177 w 3812022"/>
                <a:gd name="connsiteY208" fmla="*/ 1054362 h 1325394"/>
                <a:gd name="connsiteX209" fmla="*/ 1528749 w 3812022"/>
                <a:gd name="connsiteY209" fmla="*/ 1070337 h 1325394"/>
                <a:gd name="connsiteX210" fmla="*/ 1518631 w 3812022"/>
                <a:gd name="connsiteY210" fmla="*/ 1185352 h 1325394"/>
                <a:gd name="connsiteX211" fmla="*/ 1521826 w 3812022"/>
                <a:gd name="connsiteY211" fmla="*/ 1284393 h 1325394"/>
                <a:gd name="connsiteX212" fmla="*/ 1499462 w 3812022"/>
                <a:gd name="connsiteY212" fmla="*/ 1313680 h 1325394"/>
                <a:gd name="connsiteX213" fmla="*/ 1437694 w 3812022"/>
                <a:gd name="connsiteY213" fmla="*/ 1117727 h 1325394"/>
                <a:gd name="connsiteX214" fmla="*/ 1380187 w 3812022"/>
                <a:gd name="connsiteY214" fmla="*/ 1071402 h 1325394"/>
                <a:gd name="connsiteX215" fmla="*/ 1437694 w 3812022"/>
                <a:gd name="connsiteY215" fmla="*/ 1051167 h 1325394"/>
                <a:gd name="connsiteX216" fmla="*/ 1434500 w 3812022"/>
                <a:gd name="connsiteY216" fmla="*/ 916982 h 1325394"/>
                <a:gd name="connsiteX217" fmla="*/ 1285938 w 3812022"/>
                <a:gd name="connsiteY217" fmla="*/ 1011764 h 1325394"/>
                <a:gd name="connsiteX218" fmla="*/ 1167727 w 3812022"/>
                <a:gd name="connsiteY218" fmla="*/ 1035193 h 1325394"/>
                <a:gd name="connsiteX219" fmla="*/ 1169857 w 3812022"/>
                <a:gd name="connsiteY219" fmla="*/ 1024011 h 1325394"/>
                <a:gd name="connsiteX220" fmla="*/ 1422253 w 3812022"/>
                <a:gd name="connsiteY220" fmla="*/ 824863 h 1325394"/>
                <a:gd name="connsiteX221" fmla="*/ 1397226 w 3812022"/>
                <a:gd name="connsiteY221" fmla="*/ 814746 h 1325394"/>
                <a:gd name="connsiteX222" fmla="*/ 1397226 w 3812022"/>
                <a:gd name="connsiteY222" fmla="*/ 802499 h 1325394"/>
                <a:gd name="connsiteX223" fmla="*/ 1427577 w 3812022"/>
                <a:gd name="connsiteY223" fmla="*/ 779070 h 1325394"/>
                <a:gd name="connsiteX224" fmla="*/ 1435565 w 3812022"/>
                <a:gd name="connsiteY224" fmla="*/ 692276 h 1325394"/>
                <a:gd name="connsiteX225" fmla="*/ 1289133 w 3812022"/>
                <a:gd name="connsiteY225" fmla="*/ 782265 h 1325394"/>
                <a:gd name="connsiteX226" fmla="*/ 1153883 w 3812022"/>
                <a:gd name="connsiteY226" fmla="*/ 833916 h 1325394"/>
                <a:gd name="connsiteX227" fmla="*/ 1156013 w 3812022"/>
                <a:gd name="connsiteY227" fmla="*/ 808889 h 1325394"/>
                <a:gd name="connsiteX228" fmla="*/ 1263041 w 3812022"/>
                <a:gd name="connsiteY228" fmla="*/ 748186 h 1325394"/>
                <a:gd name="connsiteX229" fmla="*/ 1306704 w 3812022"/>
                <a:gd name="connsiteY229" fmla="*/ 656067 h 1325394"/>
                <a:gd name="connsiteX230" fmla="*/ 1323744 w 3812022"/>
                <a:gd name="connsiteY230" fmla="*/ 676302 h 1325394"/>
                <a:gd name="connsiteX231" fmla="*/ 1440889 w 3812022"/>
                <a:gd name="connsiteY231" fmla="*/ 435620 h 1325394"/>
                <a:gd name="connsiteX232" fmla="*/ 1523956 w 3812022"/>
                <a:gd name="connsiteY232" fmla="*/ 343501 h 1325394"/>
                <a:gd name="connsiteX233" fmla="*/ 1376459 w 3812022"/>
                <a:gd name="connsiteY233" fmla="*/ 458516 h 1325394"/>
                <a:gd name="connsiteX234" fmla="*/ 1348238 w 3812022"/>
                <a:gd name="connsiteY234" fmla="*/ 446269 h 1325394"/>
                <a:gd name="connsiteX235" fmla="*/ 1161337 w 3812022"/>
                <a:gd name="connsiteY235" fmla="*/ 469698 h 1325394"/>
                <a:gd name="connsiteX236" fmla="*/ 1161337 w 3812022"/>
                <a:gd name="connsiteY236" fmla="*/ 459581 h 1325394"/>
                <a:gd name="connsiteX237" fmla="*/ 1337056 w 3812022"/>
                <a:gd name="connsiteY237" fmla="*/ 376514 h 1325394"/>
                <a:gd name="connsiteX238" fmla="*/ 1363147 w 3812022"/>
                <a:gd name="connsiteY238" fmla="*/ 194406 h 1325394"/>
                <a:gd name="connsiteX239" fmla="*/ 1453136 w 3812022"/>
                <a:gd name="connsiteY239" fmla="*/ 312617 h 1325394"/>
                <a:gd name="connsiteX240" fmla="*/ 1552177 w 3812022"/>
                <a:gd name="connsiteY240" fmla="*/ 273213 h 1325394"/>
                <a:gd name="connsiteX241" fmla="*/ 1578269 w 3812022"/>
                <a:gd name="connsiteY241" fmla="*/ 263096 h 1325394"/>
                <a:gd name="connsiteX242" fmla="*/ 1596374 w 3812022"/>
                <a:gd name="connsiteY242" fmla="*/ 256174 h 1325394"/>
                <a:gd name="connsiteX243" fmla="*/ 1760911 w 3812022"/>
                <a:gd name="connsiteY243" fmla="*/ 45844 h 1325394"/>
                <a:gd name="connsiteX244" fmla="*/ 1785205 w 3812022"/>
                <a:gd name="connsiteY244" fmla="*/ 42774 h 1325394"/>
                <a:gd name="connsiteX245" fmla="*/ 677122 w 3812022"/>
                <a:gd name="connsiteY245" fmla="*/ 5334 h 1325394"/>
                <a:gd name="connsiteX246" fmla="*/ 708198 w 3812022"/>
                <a:gd name="connsiteY246" fmla="*/ 55428 h 1325394"/>
                <a:gd name="connsiteX247" fmla="*/ 712458 w 3812022"/>
                <a:gd name="connsiteY247" fmla="*/ 55428 h 1325394"/>
                <a:gd name="connsiteX248" fmla="*/ 836526 w 3812022"/>
                <a:gd name="connsiteY248" fmla="*/ 143288 h 1325394"/>
                <a:gd name="connsiteX249" fmla="*/ 712458 w 3812022"/>
                <a:gd name="connsiteY249" fmla="*/ 269485 h 1325394"/>
                <a:gd name="connsiteX250" fmla="*/ 690094 w 3812022"/>
                <a:gd name="connsiteY250" fmla="*/ 280667 h 1325394"/>
                <a:gd name="connsiteX251" fmla="*/ 668794 w 3812022"/>
                <a:gd name="connsiteY251" fmla="*/ 420177 h 1325394"/>
                <a:gd name="connsiteX252" fmla="*/ 666664 w 3812022"/>
                <a:gd name="connsiteY252" fmla="*/ 435086 h 1325394"/>
                <a:gd name="connsiteX253" fmla="*/ 662405 w 3812022"/>
                <a:gd name="connsiteY253" fmla="*/ 440944 h 1325394"/>
                <a:gd name="connsiteX254" fmla="*/ 608624 w 3812022"/>
                <a:gd name="connsiteY254" fmla="*/ 524011 h 1325394"/>
                <a:gd name="connsiteX255" fmla="*/ 579338 w 3812022"/>
                <a:gd name="connsiteY255" fmla="*/ 591636 h 1325394"/>
                <a:gd name="connsiteX256" fmla="*/ 608624 w 3812022"/>
                <a:gd name="connsiteY256" fmla="*/ 570336 h 1325394"/>
                <a:gd name="connsiteX257" fmla="*/ 712458 w 3812022"/>
                <a:gd name="connsiteY257" fmla="*/ 512829 h 1325394"/>
                <a:gd name="connsiteX258" fmla="*/ 716718 w 3812022"/>
                <a:gd name="connsiteY258" fmla="*/ 511764 h 1325394"/>
                <a:gd name="connsiteX259" fmla="*/ 712458 w 3812022"/>
                <a:gd name="connsiteY259" fmla="*/ 579389 h 1325394"/>
                <a:gd name="connsiteX260" fmla="*/ 660807 w 3812022"/>
                <a:gd name="connsiteY260" fmla="*/ 645949 h 1325394"/>
                <a:gd name="connsiteX261" fmla="*/ 704471 w 3812022"/>
                <a:gd name="connsiteY261" fmla="*/ 713573 h 1325394"/>
                <a:gd name="connsiteX262" fmla="*/ 710328 w 3812022"/>
                <a:gd name="connsiteY262" fmla="*/ 1175233 h 1325394"/>
                <a:gd name="connsiteX263" fmla="*/ 625663 w 3812022"/>
                <a:gd name="connsiteY263" fmla="*/ 1217832 h 1325394"/>
                <a:gd name="connsiteX264" fmla="*/ 608624 w 3812022"/>
                <a:gd name="connsiteY264" fmla="*/ 1200792 h 1325394"/>
                <a:gd name="connsiteX265" fmla="*/ 561233 w 3812022"/>
                <a:gd name="connsiteY265" fmla="*/ 1090569 h 1325394"/>
                <a:gd name="connsiteX266" fmla="*/ 608624 w 3812022"/>
                <a:gd name="connsiteY266" fmla="*/ 1105479 h 1325394"/>
                <a:gd name="connsiteX267" fmla="*/ 610754 w 3812022"/>
                <a:gd name="connsiteY267" fmla="*/ 1105479 h 1325394"/>
                <a:gd name="connsiteX268" fmla="*/ 608624 w 3812022"/>
                <a:gd name="connsiteY268" fmla="*/ 1008567 h 1325394"/>
                <a:gd name="connsiteX269" fmla="*/ 606494 w 3812022"/>
                <a:gd name="connsiteY269" fmla="*/ 1005372 h 1325394"/>
                <a:gd name="connsiteX270" fmla="*/ 555909 w 3812022"/>
                <a:gd name="connsiteY270" fmla="*/ 972891 h 1325394"/>
                <a:gd name="connsiteX271" fmla="*/ 543662 w 3812022"/>
                <a:gd name="connsiteY271" fmla="*/ 973956 h 1325394"/>
                <a:gd name="connsiteX272" fmla="*/ 518635 w 3812022"/>
                <a:gd name="connsiteY272" fmla="*/ 1072997 h 1325394"/>
                <a:gd name="connsiteX273" fmla="*/ 449945 w 3812022"/>
                <a:gd name="connsiteY273" fmla="*/ 1246586 h 1325394"/>
                <a:gd name="connsiteX274" fmla="*/ 419594 w 3812022"/>
                <a:gd name="connsiteY274" fmla="*/ 1188013 h 1325394"/>
                <a:gd name="connsiteX275" fmla="*/ 500531 w 3812022"/>
                <a:gd name="connsiteY275" fmla="*/ 866928 h 1325394"/>
                <a:gd name="connsiteX276" fmla="*/ 542064 w 3812022"/>
                <a:gd name="connsiteY276" fmla="*/ 734340 h 1325394"/>
                <a:gd name="connsiteX277" fmla="*/ 438230 w 3812022"/>
                <a:gd name="connsiteY277" fmla="*/ 730080 h 1325394"/>
                <a:gd name="connsiteX278" fmla="*/ 439296 w 3812022"/>
                <a:gd name="connsiteY278" fmla="*/ 709846 h 1325394"/>
                <a:gd name="connsiteX279" fmla="*/ 487751 w 3812022"/>
                <a:gd name="connsiteY279" fmla="*/ 504841 h 1325394"/>
                <a:gd name="connsiteX280" fmla="*/ 494673 w 3812022"/>
                <a:gd name="connsiteY280" fmla="*/ 487802 h 1325394"/>
                <a:gd name="connsiteX281" fmla="*/ 520765 w 3812022"/>
                <a:gd name="connsiteY281" fmla="*/ 410060 h 1325394"/>
                <a:gd name="connsiteX282" fmla="*/ 410542 w 3812022"/>
                <a:gd name="connsiteY282" fmla="*/ 492062 h 1325394"/>
                <a:gd name="connsiteX283" fmla="*/ 317358 w 3812022"/>
                <a:gd name="connsiteY283" fmla="*/ 562882 h 1325394"/>
                <a:gd name="connsiteX284" fmla="*/ 217251 w 3812022"/>
                <a:gd name="connsiteY284" fmla="*/ 666715 h 1325394"/>
                <a:gd name="connsiteX285" fmla="*/ 155484 w 3812022"/>
                <a:gd name="connsiteY285" fmla="*/ 1054893 h 1325394"/>
                <a:gd name="connsiteX286" fmla="*/ 136314 w 3812022"/>
                <a:gd name="connsiteY286" fmla="*/ 1180026 h 1325394"/>
                <a:gd name="connsiteX287" fmla="*/ 100106 w 3812022"/>
                <a:gd name="connsiteY287" fmla="*/ 1312613 h 1325394"/>
                <a:gd name="connsiteX288" fmla="*/ 87859 w 3812022"/>
                <a:gd name="connsiteY288" fmla="*/ 1305691 h 1325394"/>
                <a:gd name="connsiteX289" fmla="*/ 21299 w 3812022"/>
                <a:gd name="connsiteY289" fmla="*/ 1256170 h 1325394"/>
                <a:gd name="connsiteX290" fmla="*/ 1064 w 3812022"/>
                <a:gd name="connsiteY290" fmla="*/ 1121985 h 1325394"/>
                <a:gd name="connsiteX291" fmla="*/ 2129 w 3812022"/>
                <a:gd name="connsiteY291" fmla="*/ 1009632 h 1325394"/>
                <a:gd name="connsiteX292" fmla="*/ 6389 w 3812022"/>
                <a:gd name="connsiteY292" fmla="*/ 796640 h 1325394"/>
                <a:gd name="connsiteX293" fmla="*/ 4259 w 3812022"/>
                <a:gd name="connsiteY293" fmla="*/ 718898 h 1325394"/>
                <a:gd name="connsiteX294" fmla="*/ 0 w 3812022"/>
                <a:gd name="connsiteY294" fmla="*/ 639026 h 1325394"/>
                <a:gd name="connsiteX295" fmla="*/ 0 w 3812022"/>
                <a:gd name="connsiteY295" fmla="*/ 632104 h 1325394"/>
                <a:gd name="connsiteX296" fmla="*/ 65495 w 3812022"/>
                <a:gd name="connsiteY296" fmla="*/ 504841 h 1325394"/>
                <a:gd name="connsiteX297" fmla="*/ 87859 w 3812022"/>
                <a:gd name="connsiteY297" fmla="*/ 536258 h 1325394"/>
                <a:gd name="connsiteX298" fmla="*/ 116080 w 3812022"/>
                <a:gd name="connsiteY298" fmla="*/ 617195 h 1325394"/>
                <a:gd name="connsiteX299" fmla="*/ 144302 w 3812022"/>
                <a:gd name="connsiteY299" fmla="*/ 775874 h 1325394"/>
                <a:gd name="connsiteX300" fmla="*/ 165601 w 3812022"/>
                <a:gd name="connsiteY300" fmla="*/ 702924 h 1325394"/>
                <a:gd name="connsiteX301" fmla="*/ 223109 w 3812022"/>
                <a:gd name="connsiteY301" fmla="*/ 498984 h 1325394"/>
                <a:gd name="connsiteX302" fmla="*/ 339189 w 3812022"/>
                <a:gd name="connsiteY302" fmla="*/ 424437 h 1325394"/>
                <a:gd name="connsiteX303" fmla="*/ 536207 w 3812022"/>
                <a:gd name="connsiteY303" fmla="*/ 310486 h 1325394"/>
                <a:gd name="connsiteX304" fmla="*/ 609157 w 3812022"/>
                <a:gd name="connsiteY304" fmla="*/ 91105 h 1325394"/>
                <a:gd name="connsiteX305" fmla="*/ 656547 w 3812022"/>
                <a:gd name="connsiteY305" fmla="*/ 8038 h 1325394"/>
                <a:gd name="connsiteX306" fmla="*/ 677122 w 3812022"/>
                <a:gd name="connsiteY306" fmla="*/ 5334 h 1325394"/>
                <a:gd name="connsiteX307" fmla="*/ 3645157 w 3812022"/>
                <a:gd name="connsiteY307" fmla="*/ 983 h 1325394"/>
                <a:gd name="connsiteX308" fmla="*/ 3704994 w 3812022"/>
                <a:gd name="connsiteY308" fmla="*/ 31467 h 1325394"/>
                <a:gd name="connsiteX309" fmla="*/ 3640564 w 3812022"/>
                <a:gd name="connsiteY309" fmla="*/ 159795 h 1325394"/>
                <a:gd name="connsiteX310" fmla="*/ 3543652 w 3812022"/>
                <a:gd name="connsiteY310" fmla="*/ 268953 h 1325394"/>
                <a:gd name="connsiteX311" fmla="*/ 3544718 w 3812022"/>
                <a:gd name="connsiteY311" fmla="*/ 279070 h 1325394"/>
                <a:gd name="connsiteX312" fmla="*/ 3621394 w 3812022"/>
                <a:gd name="connsiteY312" fmla="*/ 334448 h 1325394"/>
                <a:gd name="connsiteX313" fmla="*/ 3587849 w 3812022"/>
                <a:gd name="connsiteY313" fmla="*/ 419112 h 1325394"/>
                <a:gd name="connsiteX314" fmla="*/ 3812022 w 3812022"/>
                <a:gd name="connsiteY314" fmla="*/ 414853 h 1325394"/>
                <a:gd name="connsiteX315" fmla="*/ 3812022 w 3812022"/>
                <a:gd name="connsiteY315" fmla="*/ 421242 h 1325394"/>
                <a:gd name="connsiteX316" fmla="*/ 3812022 w 3812022"/>
                <a:gd name="connsiteY316" fmla="*/ 443606 h 1325394"/>
                <a:gd name="connsiteX317" fmla="*/ 3680500 w 3812022"/>
                <a:gd name="connsiteY317" fmla="*/ 594299 h 1325394"/>
                <a:gd name="connsiteX318" fmla="*/ 3654409 w 3812022"/>
                <a:gd name="connsiteY318" fmla="*/ 611339 h 1325394"/>
                <a:gd name="connsiteX319" fmla="*/ 3588713 w 3812022"/>
                <a:gd name="connsiteY319" fmla="*/ 625782 h 1325394"/>
                <a:gd name="connsiteX320" fmla="*/ 3528743 w 3812022"/>
                <a:gd name="connsiteY320" fmla="*/ 656327 h 1325394"/>
                <a:gd name="connsiteX321" fmla="*/ 3528743 w 3812022"/>
                <a:gd name="connsiteY321" fmla="*/ 539454 h 1325394"/>
                <a:gd name="connsiteX322" fmla="*/ 3528210 w 3812022"/>
                <a:gd name="connsiteY322" fmla="*/ 540085 h 1325394"/>
                <a:gd name="connsiteX323" fmla="*/ 3528210 w 3812022"/>
                <a:gd name="connsiteY323" fmla="*/ 539454 h 1325394"/>
                <a:gd name="connsiteX324" fmla="*/ 3607018 w 3812022"/>
                <a:gd name="connsiteY324" fmla="*/ 543714 h 1325394"/>
                <a:gd name="connsiteX325" fmla="*/ 3715111 w 3812022"/>
                <a:gd name="connsiteY325" fmla="*/ 446801 h 1325394"/>
                <a:gd name="connsiteX326" fmla="*/ 3537263 w 3812022"/>
                <a:gd name="connsiteY326" fmla="*/ 475024 h 1325394"/>
                <a:gd name="connsiteX327" fmla="*/ 3528743 w 3812022"/>
                <a:gd name="connsiteY327" fmla="*/ 483543 h 1325394"/>
                <a:gd name="connsiteX328" fmla="*/ 3528743 w 3812022"/>
                <a:gd name="connsiteY328" fmla="*/ 193873 h 1325394"/>
                <a:gd name="connsiteX329" fmla="*/ 3528210 w 3812022"/>
                <a:gd name="connsiteY329" fmla="*/ 194459 h 1325394"/>
                <a:gd name="connsiteX330" fmla="*/ 3528210 w 3812022"/>
                <a:gd name="connsiteY330" fmla="*/ 193873 h 1325394"/>
                <a:gd name="connsiteX331" fmla="*/ 3608082 w 3812022"/>
                <a:gd name="connsiteY331" fmla="*/ 30402 h 1325394"/>
                <a:gd name="connsiteX332" fmla="*/ 3645157 w 3812022"/>
                <a:gd name="connsiteY332" fmla="*/ 983 h 132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Lst>
              <a:rect l="l" t="t" r="r" b="b"/>
              <a:pathLst>
                <a:path w="3812022" h="1325394">
                  <a:moveTo>
                    <a:pt x="3528743" y="1166183"/>
                  </a:moveTo>
                  <a:cubicBezTo>
                    <a:pt x="3531938" y="1169377"/>
                    <a:pt x="3534601" y="1174170"/>
                    <a:pt x="3537795" y="1178430"/>
                  </a:cubicBezTo>
                  <a:cubicBezTo>
                    <a:pt x="3538860" y="1199729"/>
                    <a:pt x="3537795" y="1230080"/>
                    <a:pt x="3528743" y="1258302"/>
                  </a:cubicBezTo>
                  <a:close/>
                  <a:moveTo>
                    <a:pt x="3234282" y="1082322"/>
                  </a:moveTo>
                  <a:lnTo>
                    <a:pt x="3234282" y="1163814"/>
                  </a:lnTo>
                  <a:lnTo>
                    <a:pt x="3194545" y="1145948"/>
                  </a:lnTo>
                  <a:cubicBezTo>
                    <a:pt x="3184361" y="1137428"/>
                    <a:pt x="3178371" y="1125980"/>
                    <a:pt x="3179436" y="1110272"/>
                  </a:cubicBezTo>
                  <a:close/>
                  <a:moveTo>
                    <a:pt x="3429169" y="1002179"/>
                  </a:moveTo>
                  <a:cubicBezTo>
                    <a:pt x="3447274" y="1016556"/>
                    <a:pt x="3489872" y="1011231"/>
                    <a:pt x="3528210" y="1004309"/>
                  </a:cubicBezTo>
                  <a:lnTo>
                    <a:pt x="3528210" y="1113467"/>
                  </a:lnTo>
                  <a:cubicBezTo>
                    <a:pt x="3515964" y="1125714"/>
                    <a:pt x="3513834" y="1141688"/>
                    <a:pt x="3528210" y="1166183"/>
                  </a:cubicBezTo>
                  <a:lnTo>
                    <a:pt x="3528210" y="1258302"/>
                  </a:lnTo>
                  <a:cubicBezTo>
                    <a:pt x="3519691" y="1290250"/>
                    <a:pt x="3500522" y="1318472"/>
                    <a:pt x="3467508" y="1325394"/>
                  </a:cubicBezTo>
                  <a:cubicBezTo>
                    <a:pt x="3423844" y="1313147"/>
                    <a:pt x="3233217" y="1258834"/>
                    <a:pt x="3260373" y="1211443"/>
                  </a:cubicBezTo>
                  <a:cubicBezTo>
                    <a:pt x="3304036" y="1210378"/>
                    <a:pt x="3374324" y="1252977"/>
                    <a:pt x="3440351" y="1243925"/>
                  </a:cubicBezTo>
                  <a:cubicBezTo>
                    <a:pt x="3461650" y="1213573"/>
                    <a:pt x="3451534" y="1144883"/>
                    <a:pt x="3440351" y="1117727"/>
                  </a:cubicBezTo>
                  <a:cubicBezTo>
                    <a:pt x="3378584" y="1119857"/>
                    <a:pt x="3357284" y="1157130"/>
                    <a:pt x="3310959" y="1173105"/>
                  </a:cubicBezTo>
                  <a:cubicBezTo>
                    <a:pt x="3288595" y="1170975"/>
                    <a:pt x="3259308" y="1169910"/>
                    <a:pt x="3234282" y="1164053"/>
                  </a:cubicBezTo>
                  <a:lnTo>
                    <a:pt x="3234282" y="1163814"/>
                  </a:lnTo>
                  <a:lnTo>
                    <a:pt x="3234814" y="1164053"/>
                  </a:lnTo>
                  <a:lnTo>
                    <a:pt x="3234814" y="1082051"/>
                  </a:lnTo>
                  <a:lnTo>
                    <a:pt x="3234282" y="1082322"/>
                  </a:lnTo>
                  <a:lnTo>
                    <a:pt x="3234282" y="1082051"/>
                  </a:lnTo>
                  <a:cubicBezTo>
                    <a:pt x="3283802" y="1061816"/>
                    <a:pt x="3340245" y="1046907"/>
                    <a:pt x="3391896" y="1031465"/>
                  </a:cubicBezTo>
                  <a:cubicBezTo>
                    <a:pt x="3415325" y="1013361"/>
                    <a:pt x="3380714" y="997919"/>
                    <a:pt x="3429169" y="1002179"/>
                  </a:cubicBezTo>
                  <a:close/>
                  <a:moveTo>
                    <a:pt x="3580394" y="994192"/>
                  </a:moveTo>
                  <a:cubicBezTo>
                    <a:pt x="3600628" y="1000049"/>
                    <a:pt x="3616603" y="1004309"/>
                    <a:pt x="3644824" y="1024543"/>
                  </a:cubicBezTo>
                  <a:cubicBezTo>
                    <a:pt x="3645889" y="1077258"/>
                    <a:pt x="3560159" y="1084181"/>
                    <a:pt x="3528743" y="1113467"/>
                  </a:cubicBezTo>
                  <a:lnTo>
                    <a:pt x="3528743" y="1004309"/>
                  </a:lnTo>
                  <a:cubicBezTo>
                    <a:pt x="3547913" y="1001114"/>
                    <a:pt x="3567082" y="996321"/>
                    <a:pt x="3580394" y="994192"/>
                  </a:cubicBezTo>
                  <a:close/>
                  <a:moveTo>
                    <a:pt x="2529346" y="901606"/>
                  </a:moveTo>
                  <a:cubicBezTo>
                    <a:pt x="2533006" y="901673"/>
                    <a:pt x="2537799" y="903404"/>
                    <a:pt x="2547916" y="909528"/>
                  </a:cubicBezTo>
                  <a:cubicBezTo>
                    <a:pt x="2555903" y="927632"/>
                    <a:pt x="2579332" y="953723"/>
                    <a:pt x="2608619" y="977152"/>
                  </a:cubicBezTo>
                  <a:cubicBezTo>
                    <a:pt x="2644827" y="1008569"/>
                    <a:pt x="2689556" y="1038920"/>
                    <a:pt x="2718842" y="1051700"/>
                  </a:cubicBezTo>
                  <a:cubicBezTo>
                    <a:pt x="2747063" y="1053829"/>
                    <a:pt x="2775285" y="1055959"/>
                    <a:pt x="2803506" y="1057557"/>
                  </a:cubicBezTo>
                  <a:cubicBezTo>
                    <a:pt x="2804571" y="1095895"/>
                    <a:pt x="2702335" y="1149676"/>
                    <a:pt x="2668256" y="1154468"/>
                  </a:cubicBezTo>
                  <a:cubicBezTo>
                    <a:pt x="2656009" y="1151273"/>
                    <a:pt x="2642165" y="1147546"/>
                    <a:pt x="2629918" y="1145416"/>
                  </a:cubicBezTo>
                  <a:cubicBezTo>
                    <a:pt x="2622463" y="1139559"/>
                    <a:pt x="2615541" y="1132637"/>
                    <a:pt x="2608619" y="1124649"/>
                  </a:cubicBezTo>
                  <a:cubicBezTo>
                    <a:pt x="2568150" y="1077259"/>
                    <a:pt x="2533539" y="993659"/>
                    <a:pt x="2518629" y="951061"/>
                  </a:cubicBezTo>
                  <a:cubicBezTo>
                    <a:pt x="2517565" y="935087"/>
                    <a:pt x="2517565" y="919645"/>
                    <a:pt x="2517565" y="903670"/>
                  </a:cubicBezTo>
                  <a:cubicBezTo>
                    <a:pt x="2523156" y="903137"/>
                    <a:pt x="2525685" y="901540"/>
                    <a:pt x="2529346" y="901606"/>
                  </a:cubicBezTo>
                  <a:close/>
                  <a:moveTo>
                    <a:pt x="1595483" y="881273"/>
                  </a:moveTo>
                  <a:cubicBezTo>
                    <a:pt x="1591148" y="880907"/>
                    <a:pt x="1585857" y="881306"/>
                    <a:pt x="1578801" y="881839"/>
                  </a:cubicBezTo>
                  <a:cubicBezTo>
                    <a:pt x="1575074" y="881839"/>
                    <a:pt x="1569750" y="881839"/>
                    <a:pt x="1563892" y="881839"/>
                  </a:cubicBezTo>
                  <a:cubicBezTo>
                    <a:pt x="1559632" y="883969"/>
                    <a:pt x="1555905" y="887164"/>
                    <a:pt x="1552710" y="890358"/>
                  </a:cubicBezTo>
                  <a:cubicBezTo>
                    <a:pt x="1518099" y="915917"/>
                    <a:pt x="1528216" y="955321"/>
                    <a:pt x="1529281" y="1001647"/>
                  </a:cubicBezTo>
                  <a:cubicBezTo>
                    <a:pt x="1535671" y="999517"/>
                    <a:pt x="1543658" y="996854"/>
                    <a:pt x="1552710" y="992595"/>
                  </a:cubicBezTo>
                  <a:cubicBezTo>
                    <a:pt x="1560697" y="987802"/>
                    <a:pt x="1569750" y="983542"/>
                    <a:pt x="1578801" y="977685"/>
                  </a:cubicBezTo>
                  <a:cubicBezTo>
                    <a:pt x="1602231" y="962776"/>
                    <a:pt x="1624595" y="943606"/>
                    <a:pt x="1630452" y="922307"/>
                  </a:cubicBezTo>
                  <a:cubicBezTo>
                    <a:pt x="1612881" y="890358"/>
                    <a:pt x="1608488" y="882371"/>
                    <a:pt x="1595483" y="881273"/>
                  </a:cubicBezTo>
                  <a:close/>
                  <a:moveTo>
                    <a:pt x="578273" y="855746"/>
                  </a:moveTo>
                  <a:lnTo>
                    <a:pt x="576143" y="870122"/>
                  </a:lnTo>
                  <a:lnTo>
                    <a:pt x="577208" y="885032"/>
                  </a:lnTo>
                  <a:lnTo>
                    <a:pt x="577208" y="899409"/>
                  </a:lnTo>
                  <a:lnTo>
                    <a:pt x="583065" y="911656"/>
                  </a:lnTo>
                  <a:lnTo>
                    <a:pt x="609157" y="921773"/>
                  </a:lnTo>
                  <a:lnTo>
                    <a:pt x="610222" y="922838"/>
                  </a:lnTo>
                  <a:cubicBezTo>
                    <a:pt x="609157" y="905266"/>
                    <a:pt x="609157" y="887162"/>
                    <a:pt x="610222" y="869058"/>
                  </a:cubicBezTo>
                  <a:cubicBezTo>
                    <a:pt x="610222" y="867993"/>
                    <a:pt x="609157" y="867993"/>
                    <a:pt x="609157" y="866928"/>
                  </a:cubicBezTo>
                  <a:cubicBezTo>
                    <a:pt x="601169" y="862668"/>
                    <a:pt x="585727" y="855746"/>
                    <a:pt x="578273" y="855746"/>
                  </a:cubicBezTo>
                  <a:close/>
                  <a:moveTo>
                    <a:pt x="3589446" y="757771"/>
                  </a:moveTo>
                  <a:cubicBezTo>
                    <a:pt x="3581458" y="757771"/>
                    <a:pt x="3573471" y="759900"/>
                    <a:pt x="3566017" y="760965"/>
                  </a:cubicBezTo>
                  <a:cubicBezTo>
                    <a:pt x="3558030" y="766823"/>
                    <a:pt x="3544718" y="778005"/>
                    <a:pt x="3528743" y="790252"/>
                  </a:cubicBezTo>
                  <a:lnTo>
                    <a:pt x="3528743" y="790784"/>
                  </a:lnTo>
                  <a:cubicBezTo>
                    <a:pt x="3500522" y="815278"/>
                    <a:pt x="3468041" y="846695"/>
                    <a:pt x="3469105" y="863734"/>
                  </a:cubicBezTo>
                  <a:cubicBezTo>
                    <a:pt x="3482417" y="853617"/>
                    <a:pt x="3506379" y="840305"/>
                    <a:pt x="3528743" y="824331"/>
                  </a:cubicBezTo>
                  <a:cubicBezTo>
                    <a:pt x="3560159" y="803031"/>
                    <a:pt x="3590511" y="779070"/>
                    <a:pt x="3589446" y="757771"/>
                  </a:cubicBezTo>
                  <a:close/>
                  <a:moveTo>
                    <a:pt x="600104" y="741795"/>
                  </a:moveTo>
                  <a:cubicBezTo>
                    <a:pt x="595845" y="756704"/>
                    <a:pt x="592650" y="779068"/>
                    <a:pt x="601169" y="782796"/>
                  </a:cubicBezTo>
                  <a:cubicBezTo>
                    <a:pt x="602234" y="782796"/>
                    <a:pt x="605962" y="783861"/>
                    <a:pt x="609157" y="785991"/>
                  </a:cubicBezTo>
                  <a:cubicBezTo>
                    <a:pt x="611819" y="788121"/>
                    <a:pt x="615014" y="790250"/>
                    <a:pt x="616079" y="790250"/>
                  </a:cubicBezTo>
                  <a:cubicBezTo>
                    <a:pt x="617144" y="785991"/>
                    <a:pt x="622469" y="755639"/>
                    <a:pt x="620339" y="749782"/>
                  </a:cubicBezTo>
                  <a:cubicBezTo>
                    <a:pt x="619274" y="748717"/>
                    <a:pt x="613416" y="744990"/>
                    <a:pt x="609157" y="742860"/>
                  </a:cubicBezTo>
                  <a:cubicBezTo>
                    <a:pt x="604364" y="741795"/>
                    <a:pt x="602234" y="740730"/>
                    <a:pt x="600104" y="741795"/>
                  </a:cubicBezTo>
                  <a:close/>
                  <a:moveTo>
                    <a:pt x="3661538" y="687708"/>
                  </a:moveTo>
                  <a:cubicBezTo>
                    <a:pt x="3691615" y="686285"/>
                    <a:pt x="3726559" y="691077"/>
                    <a:pt x="3722566" y="730614"/>
                  </a:cubicBezTo>
                  <a:cubicBezTo>
                    <a:pt x="3692214" y="743926"/>
                    <a:pt x="3640564" y="808356"/>
                    <a:pt x="3618732" y="834448"/>
                  </a:cubicBezTo>
                  <a:cubicBezTo>
                    <a:pt x="3587316" y="850954"/>
                    <a:pt x="3558030" y="869059"/>
                    <a:pt x="3528743" y="887163"/>
                  </a:cubicBezTo>
                  <a:cubicBezTo>
                    <a:pt x="3484547" y="915385"/>
                    <a:pt x="3443014" y="945736"/>
                    <a:pt x="3402545" y="978217"/>
                  </a:cubicBezTo>
                  <a:cubicBezTo>
                    <a:pt x="3396688" y="977152"/>
                    <a:pt x="3391363" y="977152"/>
                    <a:pt x="3385506" y="977152"/>
                  </a:cubicBezTo>
                  <a:cubicBezTo>
                    <a:pt x="3384441" y="944671"/>
                    <a:pt x="3435026" y="899410"/>
                    <a:pt x="3460053" y="875981"/>
                  </a:cubicBezTo>
                  <a:cubicBezTo>
                    <a:pt x="3464846" y="871189"/>
                    <a:pt x="3462716" y="864799"/>
                    <a:pt x="3455793" y="867994"/>
                  </a:cubicBezTo>
                  <a:cubicBezTo>
                    <a:pt x="3422247" y="884501"/>
                    <a:pt x="3398286" y="922839"/>
                    <a:pt x="3356752" y="919644"/>
                  </a:cubicBezTo>
                  <a:cubicBezTo>
                    <a:pt x="3325336" y="921242"/>
                    <a:pt x="3293920" y="923372"/>
                    <a:pt x="3263568" y="925502"/>
                  </a:cubicBezTo>
                  <a:cubicBezTo>
                    <a:pt x="3251854" y="924437"/>
                    <a:pt x="3251854" y="924437"/>
                    <a:pt x="3238542" y="916450"/>
                  </a:cubicBezTo>
                  <a:cubicBezTo>
                    <a:pt x="3237476" y="898345"/>
                    <a:pt x="3238542" y="900475"/>
                    <a:pt x="3249724" y="890358"/>
                  </a:cubicBezTo>
                  <a:cubicBezTo>
                    <a:pt x="3333855" y="850954"/>
                    <a:pt x="3421714" y="797174"/>
                    <a:pt x="3509574" y="757771"/>
                  </a:cubicBezTo>
                  <a:cubicBezTo>
                    <a:pt x="3516496" y="754576"/>
                    <a:pt x="3522886" y="749783"/>
                    <a:pt x="3528743" y="746588"/>
                  </a:cubicBezTo>
                  <a:cubicBezTo>
                    <a:pt x="3563887" y="727419"/>
                    <a:pt x="3598498" y="709315"/>
                    <a:pt x="3634706" y="690146"/>
                  </a:cubicBezTo>
                  <a:cubicBezTo>
                    <a:pt x="3642028" y="689347"/>
                    <a:pt x="3651513" y="688182"/>
                    <a:pt x="3661538" y="687708"/>
                  </a:cubicBezTo>
                  <a:close/>
                  <a:moveTo>
                    <a:pt x="3106487" y="648612"/>
                  </a:moveTo>
                  <a:cubicBezTo>
                    <a:pt x="3152812" y="647547"/>
                    <a:pt x="3159202" y="700263"/>
                    <a:pt x="3233749" y="667781"/>
                  </a:cubicBezTo>
                  <a:cubicBezTo>
                    <a:pt x="3233749" y="666716"/>
                    <a:pt x="3234814" y="665652"/>
                    <a:pt x="3234814" y="665652"/>
                  </a:cubicBezTo>
                  <a:lnTo>
                    <a:pt x="3234814" y="750848"/>
                  </a:lnTo>
                  <a:cubicBezTo>
                    <a:pt x="3232684" y="765758"/>
                    <a:pt x="3228957" y="780135"/>
                    <a:pt x="3225762" y="789187"/>
                  </a:cubicBezTo>
                  <a:cubicBezTo>
                    <a:pt x="3219905" y="790252"/>
                    <a:pt x="3214580" y="791317"/>
                    <a:pt x="3208723" y="792382"/>
                  </a:cubicBezTo>
                  <a:cubicBezTo>
                    <a:pt x="3145890" y="762030"/>
                    <a:pt x="3108617" y="714640"/>
                    <a:pt x="3106487" y="661924"/>
                  </a:cubicBezTo>
                  <a:lnTo>
                    <a:pt x="3106487" y="651807"/>
                  </a:lnTo>
                  <a:cubicBezTo>
                    <a:pt x="3106487" y="650742"/>
                    <a:pt x="3106487" y="649677"/>
                    <a:pt x="3106487" y="648612"/>
                  </a:cubicBezTo>
                  <a:close/>
                  <a:moveTo>
                    <a:pt x="1575074" y="608144"/>
                  </a:moveTo>
                  <a:cubicBezTo>
                    <a:pt x="1566022" y="610274"/>
                    <a:pt x="1558567" y="612936"/>
                    <a:pt x="1552710" y="616131"/>
                  </a:cubicBezTo>
                  <a:cubicBezTo>
                    <a:pt x="1533541" y="625184"/>
                    <a:pt x="1526618" y="640625"/>
                    <a:pt x="1527684" y="671509"/>
                  </a:cubicBezTo>
                  <a:cubicBezTo>
                    <a:pt x="1533541" y="670444"/>
                    <a:pt x="1543658" y="663522"/>
                    <a:pt x="1552710" y="655535"/>
                  </a:cubicBezTo>
                  <a:cubicBezTo>
                    <a:pt x="1567087" y="640625"/>
                    <a:pt x="1581997" y="621456"/>
                    <a:pt x="1575074" y="608144"/>
                  </a:cubicBezTo>
                  <a:close/>
                  <a:moveTo>
                    <a:pt x="2635775" y="472893"/>
                  </a:moveTo>
                  <a:cubicBezTo>
                    <a:pt x="2661867" y="492062"/>
                    <a:pt x="2661867" y="492062"/>
                    <a:pt x="2689556" y="508037"/>
                  </a:cubicBezTo>
                  <a:cubicBezTo>
                    <a:pt x="2720972" y="548505"/>
                    <a:pt x="2667191" y="610274"/>
                    <a:pt x="2608619" y="661392"/>
                  </a:cubicBezTo>
                  <a:lnTo>
                    <a:pt x="2608619" y="553830"/>
                  </a:lnTo>
                  <a:cubicBezTo>
                    <a:pt x="2619801" y="526674"/>
                    <a:pt x="2619801" y="490997"/>
                    <a:pt x="2635775" y="472893"/>
                  </a:cubicBezTo>
                  <a:close/>
                  <a:moveTo>
                    <a:pt x="1655479" y="448932"/>
                  </a:moveTo>
                  <a:cubicBezTo>
                    <a:pt x="1629387" y="465971"/>
                    <a:pt x="1601166" y="478218"/>
                    <a:pt x="1578801" y="495257"/>
                  </a:cubicBezTo>
                  <a:cubicBezTo>
                    <a:pt x="1568685" y="503246"/>
                    <a:pt x="1558567" y="512298"/>
                    <a:pt x="1552710" y="523480"/>
                  </a:cubicBezTo>
                  <a:cubicBezTo>
                    <a:pt x="1545788" y="534662"/>
                    <a:pt x="1542593" y="547441"/>
                    <a:pt x="1542061" y="562351"/>
                  </a:cubicBezTo>
                  <a:cubicBezTo>
                    <a:pt x="1545255" y="561286"/>
                    <a:pt x="1548983" y="560221"/>
                    <a:pt x="1552177" y="558091"/>
                  </a:cubicBezTo>
                  <a:cubicBezTo>
                    <a:pt x="1561230" y="554896"/>
                    <a:pt x="1570282" y="550104"/>
                    <a:pt x="1578269" y="545844"/>
                  </a:cubicBezTo>
                  <a:cubicBezTo>
                    <a:pt x="1604361" y="532000"/>
                    <a:pt x="1626725" y="514960"/>
                    <a:pt x="1642699" y="481413"/>
                  </a:cubicBezTo>
                  <a:cubicBezTo>
                    <a:pt x="1656544" y="473426"/>
                    <a:pt x="1656544" y="473426"/>
                    <a:pt x="1667726" y="461179"/>
                  </a:cubicBezTo>
                  <a:cubicBezTo>
                    <a:pt x="1666661" y="456919"/>
                    <a:pt x="1666661" y="452127"/>
                    <a:pt x="1666661" y="449997"/>
                  </a:cubicBezTo>
                  <a:cubicBezTo>
                    <a:pt x="1662401" y="448932"/>
                    <a:pt x="1658673" y="448932"/>
                    <a:pt x="1655479" y="448932"/>
                  </a:cubicBezTo>
                  <a:close/>
                  <a:moveTo>
                    <a:pt x="3171982" y="389826"/>
                  </a:moveTo>
                  <a:cubicBezTo>
                    <a:pt x="3177839" y="394086"/>
                    <a:pt x="3183164" y="398878"/>
                    <a:pt x="3189021" y="403138"/>
                  </a:cubicBezTo>
                  <a:cubicBezTo>
                    <a:pt x="3195411" y="419112"/>
                    <a:pt x="3213515" y="436684"/>
                    <a:pt x="3234814" y="454789"/>
                  </a:cubicBezTo>
                  <a:cubicBezTo>
                    <a:pt x="3261971" y="478751"/>
                    <a:pt x="3292322" y="501115"/>
                    <a:pt x="3313621" y="520285"/>
                  </a:cubicBezTo>
                  <a:cubicBezTo>
                    <a:pt x="3315751" y="575130"/>
                    <a:pt x="3283270" y="591104"/>
                    <a:pt x="3234814" y="600156"/>
                  </a:cubicBezTo>
                  <a:lnTo>
                    <a:pt x="3233749" y="600156"/>
                  </a:lnTo>
                  <a:cubicBezTo>
                    <a:pt x="3231619" y="578857"/>
                    <a:pt x="3231619" y="558623"/>
                    <a:pt x="3230554" y="538389"/>
                  </a:cubicBezTo>
                  <a:cubicBezTo>
                    <a:pt x="3204463" y="506973"/>
                    <a:pt x="3123526" y="421242"/>
                    <a:pt x="3171982" y="389826"/>
                  </a:cubicBezTo>
                  <a:close/>
                  <a:moveTo>
                    <a:pt x="2558565" y="235940"/>
                  </a:moveTo>
                  <a:cubicBezTo>
                    <a:pt x="2573475" y="244992"/>
                    <a:pt x="2588917" y="248187"/>
                    <a:pt x="2599034" y="279603"/>
                  </a:cubicBezTo>
                  <a:cubicBezTo>
                    <a:pt x="2586787" y="368527"/>
                    <a:pt x="2575605" y="468633"/>
                    <a:pt x="2550578" y="565545"/>
                  </a:cubicBezTo>
                  <a:cubicBezTo>
                    <a:pt x="2550578" y="572467"/>
                    <a:pt x="2550578" y="578858"/>
                    <a:pt x="2551643" y="586845"/>
                  </a:cubicBezTo>
                  <a:cubicBezTo>
                    <a:pt x="2584125" y="586845"/>
                    <a:pt x="2599034" y="571934"/>
                    <a:pt x="2608086" y="553298"/>
                  </a:cubicBezTo>
                  <a:lnTo>
                    <a:pt x="2608086" y="660327"/>
                  </a:lnTo>
                  <a:cubicBezTo>
                    <a:pt x="2562825" y="698665"/>
                    <a:pt x="2513305" y="731147"/>
                    <a:pt x="2497863" y="743394"/>
                  </a:cubicBezTo>
                  <a:cubicBezTo>
                    <a:pt x="2480823" y="791849"/>
                    <a:pt x="2464317" y="841370"/>
                    <a:pt x="2447277" y="890891"/>
                  </a:cubicBezTo>
                  <a:cubicBezTo>
                    <a:pt x="2350898" y="1040517"/>
                    <a:pt x="2280077" y="1158728"/>
                    <a:pt x="2113411" y="1193339"/>
                  </a:cubicBezTo>
                  <a:cubicBezTo>
                    <a:pt x="2112346" y="1190144"/>
                    <a:pt x="2111281" y="1186417"/>
                    <a:pt x="2110217" y="1183222"/>
                  </a:cubicBezTo>
                  <a:cubicBezTo>
                    <a:pt x="2111281" y="1180027"/>
                    <a:pt x="2112346" y="1176300"/>
                    <a:pt x="2114476" y="1174170"/>
                  </a:cubicBezTo>
                  <a:cubicBezTo>
                    <a:pt x="2253986" y="1123584"/>
                    <a:pt x="2366873" y="964905"/>
                    <a:pt x="2394562" y="811551"/>
                  </a:cubicBezTo>
                  <a:cubicBezTo>
                    <a:pt x="2393497" y="808356"/>
                    <a:pt x="2393497" y="804629"/>
                    <a:pt x="2393497" y="801434"/>
                  </a:cubicBezTo>
                  <a:cubicBezTo>
                    <a:pt x="2341846" y="808356"/>
                    <a:pt x="2295520" y="826461"/>
                    <a:pt x="2250259" y="827526"/>
                  </a:cubicBezTo>
                  <a:cubicBezTo>
                    <a:pt x="2159204" y="774810"/>
                    <a:pt x="2212985" y="762031"/>
                    <a:pt x="2286467" y="748719"/>
                  </a:cubicBezTo>
                  <a:cubicBezTo>
                    <a:pt x="2337054" y="723692"/>
                    <a:pt x="2387639" y="694938"/>
                    <a:pt x="2433965" y="653937"/>
                  </a:cubicBezTo>
                  <a:cubicBezTo>
                    <a:pt x="2470174" y="535726"/>
                    <a:pt x="2509577" y="416450"/>
                    <a:pt x="2525019" y="300370"/>
                  </a:cubicBezTo>
                  <a:cubicBezTo>
                    <a:pt x="2546318" y="276941"/>
                    <a:pt x="2513837" y="252979"/>
                    <a:pt x="2558565" y="235940"/>
                  </a:cubicBezTo>
                  <a:close/>
                  <a:moveTo>
                    <a:pt x="3528210" y="194459"/>
                  </a:moveTo>
                  <a:lnTo>
                    <a:pt x="3528210" y="484076"/>
                  </a:lnTo>
                  <a:lnTo>
                    <a:pt x="3528743" y="483543"/>
                  </a:lnTo>
                  <a:lnTo>
                    <a:pt x="3528743" y="484076"/>
                  </a:lnTo>
                  <a:cubicBezTo>
                    <a:pt x="3508509" y="505375"/>
                    <a:pt x="3468041" y="540519"/>
                    <a:pt x="3495197" y="562883"/>
                  </a:cubicBezTo>
                  <a:cubicBezTo>
                    <a:pt x="3505314" y="561285"/>
                    <a:pt x="3512103" y="557558"/>
                    <a:pt x="3517161" y="553165"/>
                  </a:cubicBezTo>
                  <a:lnTo>
                    <a:pt x="3528210" y="540085"/>
                  </a:lnTo>
                  <a:lnTo>
                    <a:pt x="3528210" y="656599"/>
                  </a:lnTo>
                  <a:lnTo>
                    <a:pt x="3528743" y="656327"/>
                  </a:lnTo>
                  <a:lnTo>
                    <a:pt x="3528743" y="656599"/>
                  </a:lnTo>
                  <a:cubicBezTo>
                    <a:pt x="3488274" y="681626"/>
                    <a:pt x="3448871" y="708250"/>
                    <a:pt x="3406273" y="719432"/>
                  </a:cubicBezTo>
                  <a:cubicBezTo>
                    <a:pt x="3405208" y="715172"/>
                    <a:pt x="3403078" y="711445"/>
                    <a:pt x="3403078" y="707185"/>
                  </a:cubicBezTo>
                  <a:cubicBezTo>
                    <a:pt x="3430235" y="686951"/>
                    <a:pt x="3492002" y="651807"/>
                    <a:pt x="3496262" y="620391"/>
                  </a:cubicBezTo>
                  <a:cubicBezTo>
                    <a:pt x="3436624" y="593234"/>
                    <a:pt x="3443547" y="596962"/>
                    <a:pt x="3394026" y="629443"/>
                  </a:cubicBezTo>
                  <a:cubicBezTo>
                    <a:pt x="3321076" y="652872"/>
                    <a:pt x="3292855" y="661924"/>
                    <a:pt x="3246529" y="710380"/>
                  </a:cubicBezTo>
                  <a:cubicBezTo>
                    <a:pt x="3242269" y="722627"/>
                    <a:pt x="3238542" y="737536"/>
                    <a:pt x="3235347" y="750848"/>
                  </a:cubicBezTo>
                  <a:lnTo>
                    <a:pt x="3235347" y="665652"/>
                  </a:lnTo>
                  <a:cubicBezTo>
                    <a:pt x="3275815" y="624118"/>
                    <a:pt x="3325336" y="599092"/>
                    <a:pt x="3367934" y="560753"/>
                  </a:cubicBezTo>
                  <a:cubicBezTo>
                    <a:pt x="3368999" y="548506"/>
                    <a:pt x="3368999" y="535726"/>
                    <a:pt x="3370064" y="524544"/>
                  </a:cubicBezTo>
                  <a:cubicBezTo>
                    <a:pt x="3386039" y="523479"/>
                    <a:pt x="3402545" y="522414"/>
                    <a:pt x="3419585" y="520285"/>
                  </a:cubicBezTo>
                  <a:cubicBezTo>
                    <a:pt x="3457923" y="476621"/>
                    <a:pt x="3518626" y="380774"/>
                    <a:pt x="3511704" y="329123"/>
                  </a:cubicBezTo>
                  <a:cubicBezTo>
                    <a:pt x="3474430" y="329123"/>
                    <a:pt x="3438754" y="354150"/>
                    <a:pt x="3411598" y="341370"/>
                  </a:cubicBezTo>
                  <a:cubicBezTo>
                    <a:pt x="3410532" y="301967"/>
                    <a:pt x="3417455" y="305162"/>
                    <a:pt x="3447806" y="282798"/>
                  </a:cubicBezTo>
                  <a:close/>
                  <a:moveTo>
                    <a:pt x="52315" y="184090"/>
                  </a:moveTo>
                  <a:cubicBezTo>
                    <a:pt x="64296" y="184023"/>
                    <a:pt x="76676" y="185088"/>
                    <a:pt x="88391" y="188017"/>
                  </a:cubicBezTo>
                  <a:cubicBezTo>
                    <a:pt x="129925" y="196004"/>
                    <a:pt x="167198" y="221030"/>
                    <a:pt x="158146" y="272682"/>
                  </a:cubicBezTo>
                  <a:cubicBezTo>
                    <a:pt x="156016" y="288124"/>
                    <a:pt x="149094" y="290254"/>
                    <a:pt x="137912" y="296111"/>
                  </a:cubicBezTo>
                  <a:cubicBezTo>
                    <a:pt x="125132" y="301436"/>
                    <a:pt x="113950" y="306228"/>
                    <a:pt x="102768" y="308358"/>
                  </a:cubicBezTo>
                  <a:cubicBezTo>
                    <a:pt x="98508" y="309423"/>
                    <a:pt x="92651" y="309423"/>
                    <a:pt x="88391" y="309423"/>
                  </a:cubicBezTo>
                  <a:cubicBezTo>
                    <a:pt x="85729" y="309423"/>
                    <a:pt x="83599" y="309423"/>
                    <a:pt x="81469" y="309423"/>
                  </a:cubicBezTo>
                  <a:cubicBezTo>
                    <a:pt x="75612" y="306228"/>
                    <a:pt x="69754" y="303566"/>
                    <a:pt x="65494" y="299306"/>
                  </a:cubicBezTo>
                  <a:cubicBezTo>
                    <a:pt x="29286" y="271617"/>
                    <a:pt x="10117" y="229550"/>
                    <a:pt x="18636" y="186952"/>
                  </a:cubicBezTo>
                  <a:cubicBezTo>
                    <a:pt x="28753" y="185354"/>
                    <a:pt x="40334" y="184156"/>
                    <a:pt x="52315" y="184090"/>
                  </a:cubicBezTo>
                  <a:close/>
                  <a:moveTo>
                    <a:pt x="697548" y="95897"/>
                  </a:moveTo>
                  <a:cubicBezTo>
                    <a:pt x="698613" y="118261"/>
                    <a:pt x="698613" y="141690"/>
                    <a:pt x="698613" y="166717"/>
                  </a:cubicBezTo>
                  <a:cubicBezTo>
                    <a:pt x="703938" y="163522"/>
                    <a:pt x="708730" y="160859"/>
                    <a:pt x="712990" y="157665"/>
                  </a:cubicBezTo>
                  <a:cubicBezTo>
                    <a:pt x="717250" y="154470"/>
                    <a:pt x="721510" y="150210"/>
                    <a:pt x="727367" y="144353"/>
                  </a:cubicBezTo>
                  <a:cubicBezTo>
                    <a:pt x="727367" y="122521"/>
                    <a:pt x="723107" y="107079"/>
                    <a:pt x="712990" y="99092"/>
                  </a:cubicBezTo>
                  <a:cubicBezTo>
                    <a:pt x="708198" y="96962"/>
                    <a:pt x="703938" y="95897"/>
                    <a:pt x="697548" y="95897"/>
                  </a:cubicBezTo>
                  <a:close/>
                  <a:moveTo>
                    <a:pt x="1785205" y="42774"/>
                  </a:moveTo>
                  <a:cubicBezTo>
                    <a:pt x="1804873" y="40852"/>
                    <a:pt x="1812561" y="45445"/>
                    <a:pt x="1825341" y="84183"/>
                  </a:cubicBezTo>
                  <a:cubicBezTo>
                    <a:pt x="1816289" y="113469"/>
                    <a:pt x="1785937" y="129444"/>
                    <a:pt x="1779015" y="158730"/>
                  </a:cubicBezTo>
                  <a:cubicBezTo>
                    <a:pt x="1800314" y="148613"/>
                    <a:pt x="1820548" y="141691"/>
                    <a:pt x="1835458" y="118262"/>
                  </a:cubicBezTo>
                  <a:cubicBezTo>
                    <a:pt x="1858887" y="111339"/>
                    <a:pt x="1892966" y="127314"/>
                    <a:pt x="1895628" y="150211"/>
                  </a:cubicBezTo>
                  <a:lnTo>
                    <a:pt x="1895628" y="158198"/>
                  </a:lnTo>
                  <a:cubicBezTo>
                    <a:pt x="1893498" y="168315"/>
                    <a:pt x="1887641" y="179497"/>
                    <a:pt x="1873264" y="191744"/>
                  </a:cubicBezTo>
                  <a:cubicBezTo>
                    <a:pt x="1795522" y="219433"/>
                    <a:pt x="1708728" y="253512"/>
                    <a:pt x="1646959" y="304097"/>
                  </a:cubicBezTo>
                  <a:cubicBezTo>
                    <a:pt x="1623530" y="332319"/>
                    <a:pt x="1600633" y="360540"/>
                    <a:pt x="1578269" y="388761"/>
                  </a:cubicBezTo>
                  <a:cubicBezTo>
                    <a:pt x="1564425" y="398879"/>
                    <a:pt x="1556438" y="404736"/>
                    <a:pt x="1552177" y="408996"/>
                  </a:cubicBezTo>
                  <a:cubicBezTo>
                    <a:pt x="1544190" y="418048"/>
                    <a:pt x="1543126" y="424438"/>
                    <a:pt x="1536203" y="450529"/>
                  </a:cubicBezTo>
                  <a:cubicBezTo>
                    <a:pt x="1540996" y="449464"/>
                    <a:pt x="1546320" y="448399"/>
                    <a:pt x="1552177" y="446269"/>
                  </a:cubicBezTo>
                  <a:cubicBezTo>
                    <a:pt x="1560165" y="443074"/>
                    <a:pt x="1569217" y="438815"/>
                    <a:pt x="1578269" y="432957"/>
                  </a:cubicBezTo>
                  <a:cubicBezTo>
                    <a:pt x="1645894" y="395684"/>
                    <a:pt x="1747066" y="322734"/>
                    <a:pt x="1765170" y="431892"/>
                  </a:cubicBezTo>
                  <a:cubicBezTo>
                    <a:pt x="1802444" y="468101"/>
                    <a:pt x="1780080" y="479283"/>
                    <a:pt x="1742807" y="521882"/>
                  </a:cubicBezTo>
                  <a:cubicBezTo>
                    <a:pt x="1680505" y="573533"/>
                    <a:pt x="1641102" y="655535"/>
                    <a:pt x="1578269" y="711978"/>
                  </a:cubicBezTo>
                  <a:cubicBezTo>
                    <a:pt x="1570282" y="719965"/>
                    <a:pt x="1561230" y="726355"/>
                    <a:pt x="1552177" y="732212"/>
                  </a:cubicBezTo>
                  <a:cubicBezTo>
                    <a:pt x="1552177" y="735407"/>
                    <a:pt x="1552177" y="740199"/>
                    <a:pt x="1552177" y="744459"/>
                  </a:cubicBezTo>
                  <a:cubicBezTo>
                    <a:pt x="1559100" y="744459"/>
                    <a:pt x="1568152" y="741797"/>
                    <a:pt x="1578269" y="737537"/>
                  </a:cubicBezTo>
                  <a:cubicBezTo>
                    <a:pt x="1624595" y="718900"/>
                    <a:pt x="1705533" y="668847"/>
                    <a:pt x="1734819" y="654470"/>
                  </a:cubicBezTo>
                  <a:cubicBezTo>
                    <a:pt x="1760378" y="662990"/>
                    <a:pt x="1767300" y="669912"/>
                    <a:pt x="1767300" y="708250"/>
                  </a:cubicBezTo>
                  <a:cubicBezTo>
                    <a:pt x="1722572" y="744459"/>
                    <a:pt x="1679440" y="774810"/>
                    <a:pt x="1648024" y="823266"/>
                  </a:cubicBezTo>
                  <a:cubicBezTo>
                    <a:pt x="1648024" y="866929"/>
                    <a:pt x="1683168" y="866929"/>
                    <a:pt x="1726832" y="893021"/>
                  </a:cubicBezTo>
                  <a:cubicBezTo>
                    <a:pt x="1753988" y="933489"/>
                    <a:pt x="1649089" y="994724"/>
                    <a:pt x="1578269" y="1037323"/>
                  </a:cubicBezTo>
                  <a:cubicBezTo>
                    <a:pt x="1569217" y="1043180"/>
                    <a:pt x="1560165" y="1048505"/>
                    <a:pt x="1552177" y="1054362"/>
                  </a:cubicBezTo>
                  <a:cubicBezTo>
                    <a:pt x="1542061" y="1060219"/>
                    <a:pt x="1534606" y="1066077"/>
                    <a:pt x="1528749" y="1070337"/>
                  </a:cubicBezTo>
                  <a:cubicBezTo>
                    <a:pt x="1524489" y="1079389"/>
                    <a:pt x="1524489" y="1079389"/>
                    <a:pt x="1518631" y="1185352"/>
                  </a:cubicBezTo>
                  <a:cubicBezTo>
                    <a:pt x="1518631" y="1217833"/>
                    <a:pt x="1520761" y="1250847"/>
                    <a:pt x="1521826" y="1284393"/>
                  </a:cubicBezTo>
                  <a:cubicBezTo>
                    <a:pt x="1521826" y="1296641"/>
                    <a:pt x="1512774" y="1310485"/>
                    <a:pt x="1499462" y="1313680"/>
                  </a:cubicBezTo>
                  <a:cubicBezTo>
                    <a:pt x="1444617" y="1265224"/>
                    <a:pt x="1447812" y="1175235"/>
                    <a:pt x="1437694" y="1117727"/>
                  </a:cubicBezTo>
                  <a:cubicBezTo>
                    <a:pt x="1387109" y="1109740"/>
                    <a:pt x="1384446" y="1111870"/>
                    <a:pt x="1380187" y="1071402"/>
                  </a:cubicBezTo>
                  <a:cubicBezTo>
                    <a:pt x="1410538" y="1064479"/>
                    <a:pt x="1410538" y="1064479"/>
                    <a:pt x="1437694" y="1051167"/>
                  </a:cubicBezTo>
                  <a:cubicBezTo>
                    <a:pt x="1451539" y="1021881"/>
                    <a:pt x="1442487" y="936152"/>
                    <a:pt x="1434500" y="916982"/>
                  </a:cubicBezTo>
                  <a:cubicBezTo>
                    <a:pt x="1383914" y="918047"/>
                    <a:pt x="1327471" y="990465"/>
                    <a:pt x="1285938" y="1011764"/>
                  </a:cubicBezTo>
                  <a:cubicBezTo>
                    <a:pt x="1239612" y="1064479"/>
                    <a:pt x="1219378" y="1061284"/>
                    <a:pt x="1167727" y="1035193"/>
                  </a:cubicBezTo>
                  <a:cubicBezTo>
                    <a:pt x="1168792" y="1030933"/>
                    <a:pt x="1169857" y="1027206"/>
                    <a:pt x="1169857" y="1024011"/>
                  </a:cubicBezTo>
                  <a:cubicBezTo>
                    <a:pt x="1220975" y="1004842"/>
                    <a:pt x="1411070" y="886631"/>
                    <a:pt x="1422253" y="824863"/>
                  </a:cubicBezTo>
                  <a:cubicBezTo>
                    <a:pt x="1408408" y="822733"/>
                    <a:pt x="1408408" y="822733"/>
                    <a:pt x="1397226" y="814746"/>
                  </a:cubicBezTo>
                  <a:cubicBezTo>
                    <a:pt x="1397226" y="810486"/>
                    <a:pt x="1397226" y="805694"/>
                    <a:pt x="1397226" y="802499"/>
                  </a:cubicBezTo>
                  <a:cubicBezTo>
                    <a:pt x="1406278" y="795045"/>
                    <a:pt x="1417460" y="787057"/>
                    <a:pt x="1427577" y="779070"/>
                  </a:cubicBezTo>
                  <a:cubicBezTo>
                    <a:pt x="1435565" y="760966"/>
                    <a:pt x="1443552" y="703458"/>
                    <a:pt x="1435565" y="692276"/>
                  </a:cubicBezTo>
                  <a:cubicBezTo>
                    <a:pt x="1378057" y="692276"/>
                    <a:pt x="1354628" y="803564"/>
                    <a:pt x="1289133" y="782265"/>
                  </a:cubicBezTo>
                  <a:cubicBezTo>
                    <a:pt x="1253989" y="803564"/>
                    <a:pt x="1192221" y="854150"/>
                    <a:pt x="1153883" y="833916"/>
                  </a:cubicBezTo>
                  <a:cubicBezTo>
                    <a:pt x="1153883" y="824863"/>
                    <a:pt x="1154948" y="816876"/>
                    <a:pt x="1156013" y="808889"/>
                  </a:cubicBezTo>
                  <a:cubicBezTo>
                    <a:pt x="1188494" y="793447"/>
                    <a:pt x="1216715" y="771615"/>
                    <a:pt x="1263041" y="748186"/>
                  </a:cubicBezTo>
                  <a:cubicBezTo>
                    <a:pt x="1285405" y="708783"/>
                    <a:pt x="1263041" y="666184"/>
                    <a:pt x="1306704" y="656067"/>
                  </a:cubicBezTo>
                  <a:cubicBezTo>
                    <a:pt x="1312562" y="662990"/>
                    <a:pt x="1316822" y="669379"/>
                    <a:pt x="1323744" y="676302"/>
                  </a:cubicBezTo>
                  <a:cubicBezTo>
                    <a:pt x="1436630" y="675237"/>
                    <a:pt x="1438759" y="507505"/>
                    <a:pt x="1440889" y="435620"/>
                  </a:cubicBezTo>
                  <a:cubicBezTo>
                    <a:pt x="1463254" y="394086"/>
                    <a:pt x="1518099" y="401009"/>
                    <a:pt x="1523956" y="343501"/>
                  </a:cubicBezTo>
                  <a:cubicBezTo>
                    <a:pt x="1433967" y="356280"/>
                    <a:pt x="1443019" y="445204"/>
                    <a:pt x="1376459" y="458516"/>
                  </a:cubicBezTo>
                  <a:cubicBezTo>
                    <a:pt x="1366342" y="454256"/>
                    <a:pt x="1357290" y="450529"/>
                    <a:pt x="1348238" y="446269"/>
                  </a:cubicBezTo>
                  <a:cubicBezTo>
                    <a:pt x="1270496" y="446269"/>
                    <a:pt x="1234287" y="529337"/>
                    <a:pt x="1161337" y="469698"/>
                  </a:cubicBezTo>
                  <a:cubicBezTo>
                    <a:pt x="1161337" y="466503"/>
                    <a:pt x="1161337" y="462776"/>
                    <a:pt x="1161337" y="459581"/>
                  </a:cubicBezTo>
                  <a:cubicBezTo>
                    <a:pt x="1269431" y="405801"/>
                    <a:pt x="1269431" y="405801"/>
                    <a:pt x="1337056" y="376514"/>
                  </a:cubicBezTo>
                  <a:cubicBezTo>
                    <a:pt x="1385511" y="333916"/>
                    <a:pt x="1353030" y="247122"/>
                    <a:pt x="1363147" y="194406"/>
                  </a:cubicBezTo>
                  <a:cubicBezTo>
                    <a:pt x="1417993" y="193341"/>
                    <a:pt x="1415863" y="282265"/>
                    <a:pt x="1453136" y="312617"/>
                  </a:cubicBezTo>
                  <a:cubicBezTo>
                    <a:pt x="1485617" y="299305"/>
                    <a:pt x="1518631" y="285460"/>
                    <a:pt x="1552177" y="273213"/>
                  </a:cubicBezTo>
                  <a:cubicBezTo>
                    <a:pt x="1561230" y="270018"/>
                    <a:pt x="1569217" y="266291"/>
                    <a:pt x="1578269" y="263096"/>
                  </a:cubicBezTo>
                  <a:cubicBezTo>
                    <a:pt x="1584126" y="260434"/>
                    <a:pt x="1590516" y="258304"/>
                    <a:pt x="1596374" y="256174"/>
                  </a:cubicBezTo>
                  <a:cubicBezTo>
                    <a:pt x="1649622" y="190147"/>
                    <a:pt x="1705533" y="112404"/>
                    <a:pt x="1760911" y="45844"/>
                  </a:cubicBezTo>
                  <a:cubicBezTo>
                    <a:pt x="1770762" y="44779"/>
                    <a:pt x="1778649" y="43415"/>
                    <a:pt x="1785205" y="42774"/>
                  </a:cubicBezTo>
                  <a:close/>
                  <a:moveTo>
                    <a:pt x="677122" y="5334"/>
                  </a:moveTo>
                  <a:cubicBezTo>
                    <a:pt x="695418" y="7505"/>
                    <a:pt x="706600" y="24278"/>
                    <a:pt x="708198" y="55428"/>
                  </a:cubicBezTo>
                  <a:cubicBezTo>
                    <a:pt x="710328" y="55428"/>
                    <a:pt x="711393" y="55428"/>
                    <a:pt x="712458" y="55428"/>
                  </a:cubicBezTo>
                  <a:cubicBezTo>
                    <a:pt x="749731" y="57558"/>
                    <a:pt x="810434" y="104949"/>
                    <a:pt x="836526" y="143288"/>
                  </a:cubicBezTo>
                  <a:cubicBezTo>
                    <a:pt x="831733" y="191743"/>
                    <a:pt x="761978" y="242329"/>
                    <a:pt x="712458" y="269485"/>
                  </a:cubicBezTo>
                  <a:cubicBezTo>
                    <a:pt x="703406" y="273745"/>
                    <a:pt x="697016" y="277472"/>
                    <a:pt x="690094" y="280667"/>
                  </a:cubicBezTo>
                  <a:cubicBezTo>
                    <a:pt x="638443" y="327526"/>
                    <a:pt x="659742" y="366929"/>
                    <a:pt x="668794" y="420177"/>
                  </a:cubicBezTo>
                  <a:cubicBezTo>
                    <a:pt x="670924" y="428164"/>
                    <a:pt x="670924" y="429229"/>
                    <a:pt x="666664" y="435086"/>
                  </a:cubicBezTo>
                  <a:cubicBezTo>
                    <a:pt x="665599" y="437749"/>
                    <a:pt x="663470" y="439879"/>
                    <a:pt x="662405" y="440944"/>
                  </a:cubicBezTo>
                  <a:cubicBezTo>
                    <a:pt x="645898" y="465438"/>
                    <a:pt x="624599" y="494724"/>
                    <a:pt x="608624" y="524011"/>
                  </a:cubicBezTo>
                  <a:cubicBezTo>
                    <a:pt x="596377" y="546375"/>
                    <a:pt x="585195" y="569271"/>
                    <a:pt x="579338" y="591636"/>
                  </a:cubicBezTo>
                  <a:cubicBezTo>
                    <a:pt x="589455" y="584713"/>
                    <a:pt x="598507" y="577259"/>
                    <a:pt x="608624" y="570336"/>
                  </a:cubicBezTo>
                  <a:cubicBezTo>
                    <a:pt x="640573" y="545310"/>
                    <a:pt x="674119" y="521881"/>
                    <a:pt x="712458" y="512829"/>
                  </a:cubicBezTo>
                  <a:cubicBezTo>
                    <a:pt x="713523" y="511764"/>
                    <a:pt x="714588" y="511764"/>
                    <a:pt x="716718" y="511764"/>
                  </a:cubicBezTo>
                  <a:cubicBezTo>
                    <a:pt x="743874" y="531998"/>
                    <a:pt x="731627" y="555959"/>
                    <a:pt x="712458" y="579389"/>
                  </a:cubicBezTo>
                  <a:cubicBezTo>
                    <a:pt x="693288" y="603350"/>
                    <a:pt x="666664" y="626779"/>
                    <a:pt x="660807" y="645949"/>
                  </a:cubicBezTo>
                  <a:cubicBezTo>
                    <a:pt x="666132" y="664053"/>
                    <a:pt x="697548" y="660858"/>
                    <a:pt x="704471" y="713573"/>
                  </a:cubicBezTo>
                  <a:cubicBezTo>
                    <a:pt x="667729" y="863200"/>
                    <a:pt x="684236" y="1013360"/>
                    <a:pt x="710328" y="1175233"/>
                  </a:cubicBezTo>
                  <a:cubicBezTo>
                    <a:pt x="702341" y="1210910"/>
                    <a:pt x="652820" y="1217832"/>
                    <a:pt x="625663" y="1217832"/>
                  </a:cubicBezTo>
                  <a:cubicBezTo>
                    <a:pt x="619806" y="1213040"/>
                    <a:pt x="614481" y="1207715"/>
                    <a:pt x="608624" y="1200792"/>
                  </a:cubicBezTo>
                  <a:cubicBezTo>
                    <a:pt x="581468" y="1169376"/>
                    <a:pt x="558038" y="1116661"/>
                    <a:pt x="561233" y="1090569"/>
                  </a:cubicBezTo>
                  <a:cubicBezTo>
                    <a:pt x="592650" y="1103349"/>
                    <a:pt x="594247" y="1104414"/>
                    <a:pt x="608624" y="1105479"/>
                  </a:cubicBezTo>
                  <a:cubicBezTo>
                    <a:pt x="608624" y="1105479"/>
                    <a:pt x="609689" y="1105479"/>
                    <a:pt x="610754" y="1105479"/>
                  </a:cubicBezTo>
                  <a:cubicBezTo>
                    <a:pt x="620871" y="1076192"/>
                    <a:pt x="617676" y="1029866"/>
                    <a:pt x="608624" y="1008567"/>
                  </a:cubicBezTo>
                  <a:cubicBezTo>
                    <a:pt x="607559" y="1007502"/>
                    <a:pt x="606494" y="1006437"/>
                    <a:pt x="606494" y="1005372"/>
                  </a:cubicBezTo>
                  <a:cubicBezTo>
                    <a:pt x="572948" y="994190"/>
                    <a:pt x="567091" y="994190"/>
                    <a:pt x="555909" y="972891"/>
                  </a:cubicBezTo>
                  <a:cubicBezTo>
                    <a:pt x="551649" y="972891"/>
                    <a:pt x="546856" y="972891"/>
                    <a:pt x="543662" y="973956"/>
                  </a:cubicBezTo>
                  <a:cubicBezTo>
                    <a:pt x="534609" y="995255"/>
                    <a:pt x="531947" y="1026672"/>
                    <a:pt x="518635" y="1072997"/>
                  </a:cubicBezTo>
                  <a:cubicBezTo>
                    <a:pt x="514375" y="1104946"/>
                    <a:pt x="518635" y="1256703"/>
                    <a:pt x="449945" y="1246586"/>
                  </a:cubicBezTo>
                  <a:cubicBezTo>
                    <a:pt x="417464" y="1219429"/>
                    <a:pt x="420659" y="1221559"/>
                    <a:pt x="419594" y="1188013"/>
                  </a:cubicBezTo>
                  <a:cubicBezTo>
                    <a:pt x="441958" y="1074062"/>
                    <a:pt x="465387" y="975021"/>
                    <a:pt x="500531" y="866928"/>
                  </a:cubicBezTo>
                  <a:cubicBezTo>
                    <a:pt x="503726" y="815277"/>
                    <a:pt x="529817" y="776939"/>
                    <a:pt x="542064" y="734340"/>
                  </a:cubicBezTo>
                  <a:cubicBezTo>
                    <a:pt x="499998" y="734340"/>
                    <a:pt x="463257" y="778536"/>
                    <a:pt x="438230" y="730080"/>
                  </a:cubicBezTo>
                  <a:cubicBezTo>
                    <a:pt x="438230" y="723158"/>
                    <a:pt x="438230" y="716768"/>
                    <a:pt x="439296" y="709846"/>
                  </a:cubicBezTo>
                  <a:cubicBezTo>
                    <a:pt x="497868" y="644351"/>
                    <a:pt x="505855" y="583648"/>
                    <a:pt x="487751" y="504841"/>
                  </a:cubicBezTo>
                  <a:cubicBezTo>
                    <a:pt x="486686" y="498984"/>
                    <a:pt x="492543" y="492062"/>
                    <a:pt x="494673" y="487802"/>
                  </a:cubicBezTo>
                  <a:cubicBezTo>
                    <a:pt x="508518" y="462775"/>
                    <a:pt x="528752" y="433489"/>
                    <a:pt x="520765" y="410060"/>
                  </a:cubicBezTo>
                  <a:cubicBezTo>
                    <a:pt x="481361" y="410060"/>
                    <a:pt x="436633" y="468633"/>
                    <a:pt x="410542" y="492062"/>
                  </a:cubicBezTo>
                  <a:cubicBezTo>
                    <a:pt x="350904" y="535725"/>
                    <a:pt x="344514" y="545842"/>
                    <a:pt x="317358" y="562882"/>
                  </a:cubicBezTo>
                  <a:cubicBezTo>
                    <a:pt x="230563" y="587908"/>
                    <a:pt x="229498" y="586843"/>
                    <a:pt x="217251" y="666715"/>
                  </a:cubicBezTo>
                  <a:cubicBezTo>
                    <a:pt x="223109" y="787056"/>
                    <a:pt x="199147" y="934553"/>
                    <a:pt x="155484" y="1054893"/>
                  </a:cubicBezTo>
                  <a:cubicBezTo>
                    <a:pt x="148561" y="1096959"/>
                    <a:pt x="143237" y="1138492"/>
                    <a:pt x="136314" y="1180026"/>
                  </a:cubicBezTo>
                  <a:cubicBezTo>
                    <a:pt x="136314" y="1218897"/>
                    <a:pt x="147496" y="1292379"/>
                    <a:pt x="100106" y="1312613"/>
                  </a:cubicBezTo>
                  <a:cubicBezTo>
                    <a:pt x="95846" y="1309951"/>
                    <a:pt x="91054" y="1307821"/>
                    <a:pt x="87859" y="1305691"/>
                  </a:cubicBezTo>
                  <a:cubicBezTo>
                    <a:pt x="58572" y="1289717"/>
                    <a:pt x="38338" y="1276405"/>
                    <a:pt x="21299" y="1256170"/>
                  </a:cubicBezTo>
                  <a:cubicBezTo>
                    <a:pt x="9052" y="1192805"/>
                    <a:pt x="9052" y="1192805"/>
                    <a:pt x="1064" y="1121985"/>
                  </a:cubicBezTo>
                  <a:cubicBezTo>
                    <a:pt x="1064" y="1084179"/>
                    <a:pt x="2129" y="1045841"/>
                    <a:pt x="2129" y="1009632"/>
                  </a:cubicBezTo>
                  <a:cubicBezTo>
                    <a:pt x="4259" y="937215"/>
                    <a:pt x="5324" y="866395"/>
                    <a:pt x="6389" y="796640"/>
                  </a:cubicBezTo>
                  <a:cubicBezTo>
                    <a:pt x="5324" y="770549"/>
                    <a:pt x="5324" y="744990"/>
                    <a:pt x="4259" y="718898"/>
                  </a:cubicBezTo>
                  <a:cubicBezTo>
                    <a:pt x="2129" y="692807"/>
                    <a:pt x="0" y="666183"/>
                    <a:pt x="0" y="639026"/>
                  </a:cubicBezTo>
                  <a:lnTo>
                    <a:pt x="0" y="632104"/>
                  </a:lnTo>
                  <a:cubicBezTo>
                    <a:pt x="0" y="576726"/>
                    <a:pt x="12779" y="526141"/>
                    <a:pt x="65495" y="504841"/>
                  </a:cubicBezTo>
                  <a:cubicBezTo>
                    <a:pt x="76677" y="510166"/>
                    <a:pt x="82001" y="521881"/>
                    <a:pt x="87859" y="536258"/>
                  </a:cubicBezTo>
                  <a:cubicBezTo>
                    <a:pt x="95846" y="559687"/>
                    <a:pt x="100106" y="590038"/>
                    <a:pt x="116080" y="617195"/>
                  </a:cubicBezTo>
                  <a:cubicBezTo>
                    <a:pt x="177848" y="637429"/>
                    <a:pt x="144302" y="715171"/>
                    <a:pt x="144302" y="775874"/>
                  </a:cubicBezTo>
                  <a:cubicBezTo>
                    <a:pt x="157614" y="754574"/>
                    <a:pt x="162406" y="724223"/>
                    <a:pt x="165601" y="702924"/>
                  </a:cubicBezTo>
                  <a:cubicBezTo>
                    <a:pt x="173588" y="601220"/>
                    <a:pt x="165601" y="565544"/>
                    <a:pt x="223109" y="498984"/>
                  </a:cubicBezTo>
                  <a:cubicBezTo>
                    <a:pt x="258252" y="476087"/>
                    <a:pt x="313098" y="445736"/>
                    <a:pt x="339189" y="424437"/>
                  </a:cubicBezTo>
                  <a:cubicBezTo>
                    <a:pt x="521830" y="322733"/>
                    <a:pt x="521830" y="322733"/>
                    <a:pt x="536207" y="310486"/>
                  </a:cubicBezTo>
                  <a:cubicBezTo>
                    <a:pt x="577740" y="245524"/>
                    <a:pt x="584130" y="161924"/>
                    <a:pt x="609157" y="91105"/>
                  </a:cubicBezTo>
                  <a:cubicBezTo>
                    <a:pt x="619274" y="60753"/>
                    <a:pt x="634183" y="31467"/>
                    <a:pt x="656547" y="8038"/>
                  </a:cubicBezTo>
                  <a:cubicBezTo>
                    <a:pt x="664135" y="5509"/>
                    <a:pt x="671024" y="4610"/>
                    <a:pt x="677122" y="5334"/>
                  </a:cubicBezTo>
                  <a:close/>
                  <a:moveTo>
                    <a:pt x="3645157" y="983"/>
                  </a:moveTo>
                  <a:cubicBezTo>
                    <a:pt x="3663860" y="4710"/>
                    <a:pt x="3686358" y="18421"/>
                    <a:pt x="3704994" y="31467"/>
                  </a:cubicBezTo>
                  <a:cubicBezTo>
                    <a:pt x="3740138" y="88975"/>
                    <a:pt x="3691682" y="112404"/>
                    <a:pt x="3640564" y="159795"/>
                  </a:cubicBezTo>
                  <a:cubicBezTo>
                    <a:pt x="3611278" y="197068"/>
                    <a:pt x="3580926" y="237537"/>
                    <a:pt x="3543652" y="268953"/>
                  </a:cubicBezTo>
                  <a:cubicBezTo>
                    <a:pt x="3543652" y="271083"/>
                    <a:pt x="3544718" y="275875"/>
                    <a:pt x="3544718" y="279070"/>
                  </a:cubicBezTo>
                  <a:cubicBezTo>
                    <a:pt x="3595303" y="289187"/>
                    <a:pt x="3619265" y="274810"/>
                    <a:pt x="3621394" y="334448"/>
                  </a:cubicBezTo>
                  <a:cubicBezTo>
                    <a:pt x="3606485" y="359475"/>
                    <a:pt x="3580926" y="382904"/>
                    <a:pt x="3587849" y="419112"/>
                  </a:cubicBezTo>
                  <a:cubicBezTo>
                    <a:pt x="3663460" y="393021"/>
                    <a:pt x="3731086" y="354682"/>
                    <a:pt x="3812022" y="414853"/>
                  </a:cubicBezTo>
                  <a:cubicBezTo>
                    <a:pt x="3812022" y="416450"/>
                    <a:pt x="3812022" y="419112"/>
                    <a:pt x="3812022" y="421242"/>
                  </a:cubicBezTo>
                  <a:lnTo>
                    <a:pt x="3812022" y="443606"/>
                  </a:lnTo>
                  <a:cubicBezTo>
                    <a:pt x="3804035" y="511232"/>
                    <a:pt x="3718306" y="538389"/>
                    <a:pt x="3680500" y="594299"/>
                  </a:cubicBezTo>
                  <a:cubicBezTo>
                    <a:pt x="3671448" y="598559"/>
                    <a:pt x="3662396" y="604416"/>
                    <a:pt x="3654409" y="611339"/>
                  </a:cubicBezTo>
                  <a:cubicBezTo>
                    <a:pt x="3631245" y="611871"/>
                    <a:pt x="3609547" y="617462"/>
                    <a:pt x="3588713" y="625782"/>
                  </a:cubicBezTo>
                  <a:lnTo>
                    <a:pt x="3528743" y="656327"/>
                  </a:lnTo>
                  <a:lnTo>
                    <a:pt x="3528743" y="539454"/>
                  </a:lnTo>
                  <a:lnTo>
                    <a:pt x="3528210" y="540085"/>
                  </a:lnTo>
                  <a:lnTo>
                    <a:pt x="3528210" y="539454"/>
                  </a:lnTo>
                  <a:cubicBezTo>
                    <a:pt x="3539393" y="525077"/>
                    <a:pt x="3549510" y="514427"/>
                    <a:pt x="3607018" y="543714"/>
                  </a:cubicBezTo>
                  <a:cubicBezTo>
                    <a:pt x="3662396" y="536791"/>
                    <a:pt x="3687954" y="488336"/>
                    <a:pt x="3715111" y="446801"/>
                  </a:cubicBezTo>
                  <a:cubicBezTo>
                    <a:pt x="3702864" y="404203"/>
                    <a:pt x="3566549" y="469165"/>
                    <a:pt x="3537263" y="475024"/>
                  </a:cubicBezTo>
                  <a:lnTo>
                    <a:pt x="3528743" y="483543"/>
                  </a:lnTo>
                  <a:lnTo>
                    <a:pt x="3528743" y="193873"/>
                  </a:lnTo>
                  <a:lnTo>
                    <a:pt x="3528210" y="194459"/>
                  </a:lnTo>
                  <a:lnTo>
                    <a:pt x="3528210" y="193873"/>
                  </a:lnTo>
                  <a:cubicBezTo>
                    <a:pt x="3574537" y="146483"/>
                    <a:pt x="3615005" y="96962"/>
                    <a:pt x="3608082" y="30402"/>
                  </a:cubicBezTo>
                  <a:cubicBezTo>
                    <a:pt x="3611543" y="3512"/>
                    <a:pt x="3626453" y="-2745"/>
                    <a:pt x="3645157" y="983"/>
                  </a:cubicBez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46" name="îṥlîḋê"/>
            <p:cNvSpPr/>
            <p:nvPr userDrawn="1"/>
          </p:nvSpPr>
          <p:spPr>
            <a:xfrm>
              <a:off x="4486927" y="4159426"/>
              <a:ext cx="3700885" cy="373260"/>
            </a:xfrm>
            <a:custGeom>
              <a:avLst/>
              <a:gdLst>
                <a:gd name="connsiteX0" fmla="*/ 2873364 w 3817880"/>
                <a:gd name="connsiteY0" fmla="*/ 329175 h 420659"/>
                <a:gd name="connsiteX1" fmla="*/ 2873364 w 3817880"/>
                <a:gd name="connsiteY1" fmla="*/ 302019 h 420659"/>
                <a:gd name="connsiteX2" fmla="*/ 2893598 w 3817880"/>
                <a:gd name="connsiteY2" fmla="*/ 304149 h 420659"/>
                <a:gd name="connsiteX3" fmla="*/ 2926080 w 3817880"/>
                <a:gd name="connsiteY3" fmla="*/ 298291 h 420659"/>
                <a:gd name="connsiteX4" fmla="*/ 2962288 w 3817880"/>
                <a:gd name="connsiteY4" fmla="*/ 278057 h 420659"/>
                <a:gd name="connsiteX5" fmla="*/ 2962288 w 3817880"/>
                <a:gd name="connsiteY5" fmla="*/ 303084 h 420659"/>
                <a:gd name="connsiteX6" fmla="*/ 2921820 w 3817880"/>
                <a:gd name="connsiteY6" fmla="*/ 322253 h 420659"/>
                <a:gd name="connsiteX7" fmla="*/ 2880286 w 3817880"/>
                <a:gd name="connsiteY7" fmla="*/ 329175 h 420659"/>
                <a:gd name="connsiteX8" fmla="*/ 2873364 w 3817880"/>
                <a:gd name="connsiteY8" fmla="*/ 329175 h 420659"/>
                <a:gd name="connsiteX9" fmla="*/ 2873364 w 3817880"/>
                <a:gd name="connsiteY9" fmla="*/ 329175 h 420659"/>
                <a:gd name="connsiteX10" fmla="*/ 2873364 w 3817880"/>
                <a:gd name="connsiteY10" fmla="*/ 209367 h 420659"/>
                <a:gd name="connsiteX11" fmla="*/ 2873364 w 3817880"/>
                <a:gd name="connsiteY11" fmla="*/ 191263 h 420659"/>
                <a:gd name="connsiteX12" fmla="*/ 2922885 w 3817880"/>
                <a:gd name="connsiteY12" fmla="*/ 191263 h 420659"/>
                <a:gd name="connsiteX13" fmla="*/ 2922885 w 3817880"/>
                <a:gd name="connsiteY13" fmla="*/ 184341 h 420659"/>
                <a:gd name="connsiteX14" fmla="*/ 2911703 w 3817880"/>
                <a:gd name="connsiteY14" fmla="*/ 143872 h 420659"/>
                <a:gd name="connsiteX15" fmla="*/ 2878156 w 3817880"/>
                <a:gd name="connsiteY15" fmla="*/ 128963 h 420659"/>
                <a:gd name="connsiteX16" fmla="*/ 2873897 w 3817880"/>
                <a:gd name="connsiteY16" fmla="*/ 128963 h 420659"/>
                <a:gd name="connsiteX17" fmla="*/ 2873897 w 3817880"/>
                <a:gd name="connsiteY17" fmla="*/ 109794 h 420659"/>
                <a:gd name="connsiteX18" fmla="*/ 2884014 w 3817880"/>
                <a:gd name="connsiteY18" fmla="*/ 108729 h 420659"/>
                <a:gd name="connsiteX19" fmla="*/ 2941522 w 3817880"/>
                <a:gd name="connsiteY19" fmla="*/ 132158 h 420659"/>
                <a:gd name="connsiteX20" fmla="*/ 2962821 w 3817880"/>
                <a:gd name="connsiteY20" fmla="*/ 194990 h 420659"/>
                <a:gd name="connsiteX21" fmla="*/ 2962821 w 3817880"/>
                <a:gd name="connsiteY21" fmla="*/ 202978 h 420659"/>
                <a:gd name="connsiteX22" fmla="*/ 2962821 w 3817880"/>
                <a:gd name="connsiteY22" fmla="*/ 208835 h 420659"/>
                <a:gd name="connsiteX23" fmla="*/ 2873364 w 3817880"/>
                <a:gd name="connsiteY23" fmla="*/ 208835 h 420659"/>
                <a:gd name="connsiteX24" fmla="*/ 2873364 w 3817880"/>
                <a:gd name="connsiteY24" fmla="*/ 209367 h 420659"/>
                <a:gd name="connsiteX25" fmla="*/ 2994770 w 3817880"/>
                <a:gd name="connsiteY25" fmla="*/ 325448 h 420659"/>
                <a:gd name="connsiteX26" fmla="*/ 2994770 w 3817880"/>
                <a:gd name="connsiteY26" fmla="*/ 309473 h 420659"/>
                <a:gd name="connsiteX27" fmla="*/ 3017134 w 3817880"/>
                <a:gd name="connsiteY27" fmla="*/ 307343 h 420659"/>
                <a:gd name="connsiteX28" fmla="*/ 3025121 w 3817880"/>
                <a:gd name="connsiteY28" fmla="*/ 299356 h 420659"/>
                <a:gd name="connsiteX29" fmla="*/ 3025121 w 3817880"/>
                <a:gd name="connsiteY29" fmla="*/ 141742 h 420659"/>
                <a:gd name="connsiteX30" fmla="*/ 2994770 w 3817880"/>
                <a:gd name="connsiteY30" fmla="*/ 141742 h 420659"/>
                <a:gd name="connsiteX31" fmla="*/ 2994770 w 3817880"/>
                <a:gd name="connsiteY31" fmla="*/ 127365 h 420659"/>
                <a:gd name="connsiteX32" fmla="*/ 3045355 w 3817880"/>
                <a:gd name="connsiteY32" fmla="*/ 112456 h 420659"/>
                <a:gd name="connsiteX33" fmla="*/ 3062395 w 3817880"/>
                <a:gd name="connsiteY33" fmla="*/ 112456 h 420659"/>
                <a:gd name="connsiteX34" fmla="*/ 3062395 w 3817880"/>
                <a:gd name="connsiteY34" fmla="*/ 152924 h 420659"/>
                <a:gd name="connsiteX35" fmla="*/ 3083694 w 3817880"/>
                <a:gd name="connsiteY35" fmla="*/ 131625 h 420659"/>
                <a:gd name="connsiteX36" fmla="*/ 3108720 w 3817880"/>
                <a:gd name="connsiteY36" fmla="*/ 110326 h 420659"/>
                <a:gd name="connsiteX37" fmla="*/ 3112980 w 3817880"/>
                <a:gd name="connsiteY37" fmla="*/ 110326 h 420659"/>
                <a:gd name="connsiteX38" fmla="*/ 3119902 w 3817880"/>
                <a:gd name="connsiteY38" fmla="*/ 109261 h 420659"/>
                <a:gd name="connsiteX39" fmla="*/ 3132149 w 3817880"/>
                <a:gd name="connsiteY39" fmla="*/ 111391 h 420659"/>
                <a:gd name="connsiteX40" fmla="*/ 3145461 w 3817880"/>
                <a:gd name="connsiteY40" fmla="*/ 115651 h 420659"/>
                <a:gd name="connsiteX41" fmla="*/ 3145461 w 3817880"/>
                <a:gd name="connsiteY41" fmla="*/ 152924 h 420659"/>
                <a:gd name="connsiteX42" fmla="*/ 3132149 w 3817880"/>
                <a:gd name="connsiteY42" fmla="*/ 152924 h 420659"/>
                <a:gd name="connsiteX43" fmla="*/ 3122032 w 3817880"/>
                <a:gd name="connsiteY43" fmla="*/ 144937 h 420659"/>
                <a:gd name="connsiteX44" fmla="*/ 3109785 w 3817880"/>
                <a:gd name="connsiteY44" fmla="*/ 142807 h 420659"/>
                <a:gd name="connsiteX45" fmla="*/ 3087421 w 3817880"/>
                <a:gd name="connsiteY45" fmla="*/ 150794 h 420659"/>
                <a:gd name="connsiteX46" fmla="*/ 3062395 w 3817880"/>
                <a:gd name="connsiteY46" fmla="*/ 174223 h 420659"/>
                <a:gd name="connsiteX47" fmla="*/ 3062395 w 3817880"/>
                <a:gd name="connsiteY47" fmla="*/ 299356 h 420659"/>
                <a:gd name="connsiteX48" fmla="*/ 3069317 w 3817880"/>
                <a:gd name="connsiteY48" fmla="*/ 307343 h 420659"/>
                <a:gd name="connsiteX49" fmla="*/ 3099668 w 3817880"/>
                <a:gd name="connsiteY49" fmla="*/ 309473 h 420659"/>
                <a:gd name="connsiteX50" fmla="*/ 3099668 w 3817880"/>
                <a:gd name="connsiteY50" fmla="*/ 325448 h 420659"/>
                <a:gd name="connsiteX51" fmla="*/ 2994770 w 3817880"/>
                <a:gd name="connsiteY51" fmla="*/ 325448 h 420659"/>
                <a:gd name="connsiteX52" fmla="*/ 2994770 w 3817880"/>
                <a:gd name="connsiteY52" fmla="*/ 325448 h 420659"/>
                <a:gd name="connsiteX53" fmla="*/ 3299880 w 3817880"/>
                <a:gd name="connsiteY53" fmla="*/ 119378 h 420659"/>
                <a:gd name="connsiteX54" fmla="*/ 3299880 w 3817880"/>
                <a:gd name="connsiteY54" fmla="*/ 168899 h 420659"/>
                <a:gd name="connsiteX55" fmla="*/ 3277516 w 3817880"/>
                <a:gd name="connsiteY55" fmla="*/ 168899 h 420659"/>
                <a:gd name="connsiteX56" fmla="*/ 3274322 w 3817880"/>
                <a:gd name="connsiteY56" fmla="*/ 138547 h 420659"/>
                <a:gd name="connsiteX57" fmla="*/ 3257282 w 3817880"/>
                <a:gd name="connsiteY57" fmla="*/ 130560 h 420659"/>
                <a:gd name="connsiteX58" fmla="*/ 3241308 w 3817880"/>
                <a:gd name="connsiteY58" fmla="*/ 128430 h 420659"/>
                <a:gd name="connsiteX59" fmla="*/ 3215216 w 3817880"/>
                <a:gd name="connsiteY59" fmla="*/ 137482 h 420659"/>
                <a:gd name="connsiteX60" fmla="*/ 3205099 w 3817880"/>
                <a:gd name="connsiteY60" fmla="*/ 159847 h 420659"/>
                <a:gd name="connsiteX61" fmla="*/ 3213086 w 3817880"/>
                <a:gd name="connsiteY61" fmla="*/ 181146 h 420659"/>
                <a:gd name="connsiteX62" fmla="*/ 3242373 w 3817880"/>
                <a:gd name="connsiteY62" fmla="*/ 200315 h 420659"/>
                <a:gd name="connsiteX63" fmla="*/ 3253555 w 3817880"/>
                <a:gd name="connsiteY63" fmla="*/ 204575 h 420659"/>
                <a:gd name="connsiteX64" fmla="*/ 3288699 w 3817880"/>
                <a:gd name="connsiteY64" fmla="*/ 224809 h 420659"/>
                <a:gd name="connsiteX65" fmla="*/ 3300946 w 3817880"/>
                <a:gd name="connsiteY65" fmla="*/ 241848 h 420659"/>
                <a:gd name="connsiteX66" fmla="*/ 3305205 w 3817880"/>
                <a:gd name="connsiteY66" fmla="*/ 263148 h 420659"/>
                <a:gd name="connsiteX67" fmla="*/ 3283906 w 3817880"/>
                <a:gd name="connsiteY67" fmla="*/ 311603 h 420659"/>
                <a:gd name="connsiteX68" fmla="*/ 3223203 w 3817880"/>
                <a:gd name="connsiteY68" fmla="*/ 328643 h 420659"/>
                <a:gd name="connsiteX69" fmla="*/ 3193917 w 3817880"/>
                <a:gd name="connsiteY69" fmla="*/ 326513 h 420659"/>
                <a:gd name="connsiteX70" fmla="*/ 3166761 w 3817880"/>
                <a:gd name="connsiteY70" fmla="*/ 319591 h 420659"/>
                <a:gd name="connsiteX71" fmla="*/ 3166761 w 3817880"/>
                <a:gd name="connsiteY71" fmla="*/ 262083 h 420659"/>
                <a:gd name="connsiteX72" fmla="*/ 3188060 w 3817880"/>
                <a:gd name="connsiteY72" fmla="*/ 262083 h 420659"/>
                <a:gd name="connsiteX73" fmla="*/ 3192319 w 3817880"/>
                <a:gd name="connsiteY73" fmla="*/ 299356 h 420659"/>
                <a:gd name="connsiteX74" fmla="*/ 3211489 w 3817880"/>
                <a:gd name="connsiteY74" fmla="*/ 307343 h 420659"/>
                <a:gd name="connsiteX75" fmla="*/ 3229593 w 3817880"/>
                <a:gd name="connsiteY75" fmla="*/ 310538 h 420659"/>
                <a:gd name="connsiteX76" fmla="*/ 3259944 w 3817880"/>
                <a:gd name="connsiteY76" fmla="*/ 300421 h 420659"/>
                <a:gd name="connsiteX77" fmla="*/ 3271126 w 3817880"/>
                <a:gd name="connsiteY77" fmla="*/ 274330 h 420659"/>
                <a:gd name="connsiteX78" fmla="*/ 3263139 w 3817880"/>
                <a:gd name="connsiteY78" fmla="*/ 253031 h 420659"/>
                <a:gd name="connsiteX79" fmla="*/ 3225866 w 3817880"/>
                <a:gd name="connsiteY79" fmla="*/ 230666 h 420659"/>
                <a:gd name="connsiteX80" fmla="*/ 3182203 w 3817880"/>
                <a:gd name="connsiteY80" fmla="*/ 203510 h 420659"/>
                <a:gd name="connsiteX81" fmla="*/ 3169955 w 3817880"/>
                <a:gd name="connsiteY81" fmla="*/ 171029 h 420659"/>
                <a:gd name="connsiteX82" fmla="*/ 3190190 w 3817880"/>
                <a:gd name="connsiteY82" fmla="*/ 125768 h 420659"/>
                <a:gd name="connsiteX83" fmla="*/ 3247698 w 3817880"/>
                <a:gd name="connsiteY83" fmla="*/ 108729 h 420659"/>
                <a:gd name="connsiteX84" fmla="*/ 3274854 w 3817880"/>
                <a:gd name="connsiteY84" fmla="*/ 111923 h 420659"/>
                <a:gd name="connsiteX85" fmla="*/ 3299880 w 3817880"/>
                <a:gd name="connsiteY85" fmla="*/ 119378 h 420659"/>
                <a:gd name="connsiteX86" fmla="*/ 3299880 w 3817880"/>
                <a:gd name="connsiteY86" fmla="*/ 119378 h 420659"/>
                <a:gd name="connsiteX87" fmla="*/ 3389870 w 3817880"/>
                <a:gd name="connsiteY87" fmla="*/ 112988 h 420659"/>
                <a:gd name="connsiteX88" fmla="*/ 3406909 w 3817880"/>
                <a:gd name="connsiteY88" fmla="*/ 112988 h 420659"/>
                <a:gd name="connsiteX89" fmla="*/ 3406909 w 3817880"/>
                <a:gd name="connsiteY89" fmla="*/ 299889 h 420659"/>
                <a:gd name="connsiteX90" fmla="*/ 3413831 w 3817880"/>
                <a:gd name="connsiteY90" fmla="*/ 307876 h 420659"/>
                <a:gd name="connsiteX91" fmla="*/ 3437261 w 3817880"/>
                <a:gd name="connsiteY91" fmla="*/ 310006 h 420659"/>
                <a:gd name="connsiteX92" fmla="*/ 3437261 w 3817880"/>
                <a:gd name="connsiteY92" fmla="*/ 325980 h 420659"/>
                <a:gd name="connsiteX93" fmla="*/ 3339284 w 3817880"/>
                <a:gd name="connsiteY93" fmla="*/ 325980 h 420659"/>
                <a:gd name="connsiteX94" fmla="*/ 3339284 w 3817880"/>
                <a:gd name="connsiteY94" fmla="*/ 310006 h 420659"/>
                <a:gd name="connsiteX95" fmla="*/ 3361648 w 3817880"/>
                <a:gd name="connsiteY95" fmla="*/ 307876 h 420659"/>
                <a:gd name="connsiteX96" fmla="*/ 3369635 w 3817880"/>
                <a:gd name="connsiteY96" fmla="*/ 299889 h 420659"/>
                <a:gd name="connsiteX97" fmla="*/ 3369635 w 3817880"/>
                <a:gd name="connsiteY97" fmla="*/ 142275 h 420659"/>
                <a:gd name="connsiteX98" fmla="*/ 3339284 w 3817880"/>
                <a:gd name="connsiteY98" fmla="*/ 142275 h 420659"/>
                <a:gd name="connsiteX99" fmla="*/ 3339284 w 3817880"/>
                <a:gd name="connsiteY99" fmla="*/ 127365 h 420659"/>
                <a:gd name="connsiteX100" fmla="*/ 3389870 w 3817880"/>
                <a:gd name="connsiteY100" fmla="*/ 112988 h 420659"/>
                <a:gd name="connsiteX101" fmla="*/ 3389870 w 3817880"/>
                <a:gd name="connsiteY101" fmla="*/ 112988 h 420659"/>
                <a:gd name="connsiteX102" fmla="*/ 3390934 w 3817880"/>
                <a:gd name="connsiteY102" fmla="*/ 15012 h 420659"/>
                <a:gd name="connsiteX103" fmla="*/ 3409039 w 3817880"/>
                <a:gd name="connsiteY103" fmla="*/ 22999 h 420659"/>
                <a:gd name="connsiteX104" fmla="*/ 3417026 w 3817880"/>
                <a:gd name="connsiteY104" fmla="*/ 41104 h 420659"/>
                <a:gd name="connsiteX105" fmla="*/ 3409039 w 3817880"/>
                <a:gd name="connsiteY105" fmla="*/ 58143 h 420659"/>
                <a:gd name="connsiteX106" fmla="*/ 3390934 w 3817880"/>
                <a:gd name="connsiteY106" fmla="*/ 66130 h 420659"/>
                <a:gd name="connsiteX107" fmla="*/ 3372830 w 3817880"/>
                <a:gd name="connsiteY107" fmla="*/ 58143 h 420659"/>
                <a:gd name="connsiteX108" fmla="*/ 3365908 w 3817880"/>
                <a:gd name="connsiteY108" fmla="*/ 41104 h 420659"/>
                <a:gd name="connsiteX109" fmla="*/ 3372830 w 3817880"/>
                <a:gd name="connsiteY109" fmla="*/ 22999 h 420659"/>
                <a:gd name="connsiteX110" fmla="*/ 3390934 w 3817880"/>
                <a:gd name="connsiteY110" fmla="*/ 15012 h 420659"/>
                <a:gd name="connsiteX111" fmla="*/ 3390934 w 3817880"/>
                <a:gd name="connsiteY111" fmla="*/ 15012 h 420659"/>
                <a:gd name="connsiteX112" fmla="*/ 3484651 w 3817880"/>
                <a:gd name="connsiteY112" fmla="*/ 140677 h 420659"/>
                <a:gd name="connsiteX113" fmla="*/ 3457494 w 3817880"/>
                <a:gd name="connsiteY113" fmla="*/ 140677 h 420659"/>
                <a:gd name="connsiteX114" fmla="*/ 3457494 w 3817880"/>
                <a:gd name="connsiteY114" fmla="*/ 127365 h 420659"/>
                <a:gd name="connsiteX115" fmla="*/ 3485716 w 3817880"/>
                <a:gd name="connsiteY115" fmla="*/ 114053 h 420659"/>
                <a:gd name="connsiteX116" fmla="*/ 3504885 w 3817880"/>
                <a:gd name="connsiteY116" fmla="*/ 73585 h 420659"/>
                <a:gd name="connsiteX117" fmla="*/ 3521924 w 3817880"/>
                <a:gd name="connsiteY117" fmla="*/ 73585 h 420659"/>
                <a:gd name="connsiteX118" fmla="*/ 3521924 w 3817880"/>
                <a:gd name="connsiteY118" fmla="*/ 120975 h 420659"/>
                <a:gd name="connsiteX119" fmla="*/ 3588484 w 3817880"/>
                <a:gd name="connsiteY119" fmla="*/ 120975 h 420659"/>
                <a:gd name="connsiteX120" fmla="*/ 3588484 w 3817880"/>
                <a:gd name="connsiteY120" fmla="*/ 141210 h 420659"/>
                <a:gd name="connsiteX121" fmla="*/ 3521924 w 3817880"/>
                <a:gd name="connsiteY121" fmla="*/ 141210 h 420659"/>
                <a:gd name="connsiteX122" fmla="*/ 3521924 w 3817880"/>
                <a:gd name="connsiteY122" fmla="*/ 256225 h 420659"/>
                <a:gd name="connsiteX123" fmla="*/ 3529912 w 3817880"/>
                <a:gd name="connsiteY123" fmla="*/ 294564 h 420659"/>
                <a:gd name="connsiteX124" fmla="*/ 3558133 w 3817880"/>
                <a:gd name="connsiteY124" fmla="*/ 304681 h 420659"/>
                <a:gd name="connsiteX125" fmla="*/ 3573043 w 3817880"/>
                <a:gd name="connsiteY125" fmla="*/ 303616 h 420659"/>
                <a:gd name="connsiteX126" fmla="*/ 3589017 w 3817880"/>
                <a:gd name="connsiteY126" fmla="*/ 301486 h 420659"/>
                <a:gd name="connsiteX127" fmla="*/ 3589017 w 3817880"/>
                <a:gd name="connsiteY127" fmla="*/ 317461 h 420659"/>
                <a:gd name="connsiteX128" fmla="*/ 3559731 w 3817880"/>
                <a:gd name="connsiteY128" fmla="*/ 325448 h 420659"/>
                <a:gd name="connsiteX129" fmla="*/ 3531509 w 3817880"/>
                <a:gd name="connsiteY129" fmla="*/ 327578 h 420659"/>
                <a:gd name="connsiteX130" fmla="*/ 3495300 w 3817880"/>
                <a:gd name="connsiteY130" fmla="*/ 317461 h 420659"/>
                <a:gd name="connsiteX131" fmla="*/ 3485184 w 3817880"/>
                <a:gd name="connsiteY131" fmla="*/ 282317 h 420659"/>
                <a:gd name="connsiteX132" fmla="*/ 3485184 w 3817880"/>
                <a:gd name="connsiteY132" fmla="*/ 140677 h 420659"/>
                <a:gd name="connsiteX133" fmla="*/ 3484651 w 3817880"/>
                <a:gd name="connsiteY133" fmla="*/ 140677 h 420659"/>
                <a:gd name="connsiteX134" fmla="*/ 3592744 w 3817880"/>
                <a:gd name="connsiteY134" fmla="*/ 114053 h 420659"/>
                <a:gd name="connsiteX135" fmla="*/ 3687526 w 3817880"/>
                <a:gd name="connsiteY135" fmla="*/ 114053 h 420659"/>
                <a:gd name="connsiteX136" fmla="*/ 3687526 w 3817880"/>
                <a:gd name="connsiteY136" fmla="*/ 131093 h 420659"/>
                <a:gd name="connsiteX137" fmla="*/ 3665162 w 3817880"/>
                <a:gd name="connsiteY137" fmla="*/ 132158 h 420659"/>
                <a:gd name="connsiteX138" fmla="*/ 3659304 w 3817880"/>
                <a:gd name="connsiteY138" fmla="*/ 140145 h 420659"/>
                <a:gd name="connsiteX139" fmla="*/ 3712020 w 3817880"/>
                <a:gd name="connsiteY139" fmla="*/ 276460 h 420659"/>
                <a:gd name="connsiteX140" fmla="*/ 3765800 w 3817880"/>
                <a:gd name="connsiteY140" fmla="*/ 140145 h 420659"/>
                <a:gd name="connsiteX141" fmla="*/ 3762606 w 3817880"/>
                <a:gd name="connsiteY141" fmla="*/ 132158 h 420659"/>
                <a:gd name="connsiteX142" fmla="*/ 3739176 w 3817880"/>
                <a:gd name="connsiteY142" fmla="*/ 131093 h 420659"/>
                <a:gd name="connsiteX143" fmla="*/ 3739176 w 3817880"/>
                <a:gd name="connsiteY143" fmla="*/ 114053 h 420659"/>
                <a:gd name="connsiteX144" fmla="*/ 3817984 w 3817880"/>
                <a:gd name="connsiteY144" fmla="*/ 114053 h 420659"/>
                <a:gd name="connsiteX145" fmla="*/ 3817984 w 3817880"/>
                <a:gd name="connsiteY145" fmla="*/ 131093 h 420659"/>
                <a:gd name="connsiteX146" fmla="*/ 3791892 w 3817880"/>
                <a:gd name="connsiteY146" fmla="*/ 134287 h 420659"/>
                <a:gd name="connsiteX147" fmla="*/ 3704033 w 3817880"/>
                <a:gd name="connsiteY147" fmla="*/ 347279 h 420659"/>
                <a:gd name="connsiteX148" fmla="*/ 3671552 w 3817880"/>
                <a:gd name="connsiteY148" fmla="*/ 403722 h 420659"/>
                <a:gd name="connsiteX149" fmla="*/ 3634278 w 3817880"/>
                <a:gd name="connsiteY149" fmla="*/ 420762 h 420659"/>
                <a:gd name="connsiteX150" fmla="*/ 3611914 w 3817880"/>
                <a:gd name="connsiteY150" fmla="*/ 413839 h 420659"/>
                <a:gd name="connsiteX151" fmla="*/ 3603926 w 3817880"/>
                <a:gd name="connsiteY151" fmla="*/ 396800 h 420659"/>
                <a:gd name="connsiteX152" fmla="*/ 3606056 w 3817880"/>
                <a:gd name="connsiteY152" fmla="*/ 384553 h 420659"/>
                <a:gd name="connsiteX153" fmla="*/ 3615108 w 3817880"/>
                <a:gd name="connsiteY153" fmla="*/ 373371 h 420659"/>
                <a:gd name="connsiteX154" fmla="*/ 3656642 w 3817880"/>
                <a:gd name="connsiteY154" fmla="*/ 389345 h 420659"/>
                <a:gd name="connsiteX155" fmla="*/ 3675811 w 3817880"/>
                <a:gd name="connsiteY155" fmla="*/ 362189 h 420659"/>
                <a:gd name="connsiteX156" fmla="*/ 3692851 w 3817880"/>
                <a:gd name="connsiteY156" fmla="*/ 323850 h 420659"/>
                <a:gd name="connsiteX157" fmla="*/ 3618304 w 3817880"/>
                <a:gd name="connsiteY157" fmla="*/ 133755 h 420659"/>
                <a:gd name="connsiteX158" fmla="*/ 3592212 w 3817880"/>
                <a:gd name="connsiteY158" fmla="*/ 131625 h 420659"/>
                <a:gd name="connsiteX159" fmla="*/ 3592212 w 3817880"/>
                <a:gd name="connsiteY159" fmla="*/ 114053 h 420659"/>
                <a:gd name="connsiteX160" fmla="*/ 2548019 w 3817880"/>
                <a:gd name="connsiteY160" fmla="*/ 114053 h 420659"/>
                <a:gd name="connsiteX161" fmla="*/ 2643865 w 3817880"/>
                <a:gd name="connsiteY161" fmla="*/ 114053 h 420659"/>
                <a:gd name="connsiteX162" fmla="*/ 2643865 w 3817880"/>
                <a:gd name="connsiteY162" fmla="*/ 131093 h 420659"/>
                <a:gd name="connsiteX163" fmla="*/ 2620436 w 3817880"/>
                <a:gd name="connsiteY163" fmla="*/ 132158 h 420659"/>
                <a:gd name="connsiteX164" fmla="*/ 2616176 w 3817880"/>
                <a:gd name="connsiteY164" fmla="*/ 140145 h 420659"/>
                <a:gd name="connsiteX165" fmla="*/ 2666762 w 3817880"/>
                <a:gd name="connsiteY165" fmla="*/ 283382 h 420659"/>
                <a:gd name="connsiteX166" fmla="*/ 2723205 w 3817880"/>
                <a:gd name="connsiteY166" fmla="*/ 140145 h 420659"/>
                <a:gd name="connsiteX167" fmla="*/ 2720010 w 3817880"/>
                <a:gd name="connsiteY167" fmla="*/ 132158 h 420659"/>
                <a:gd name="connsiteX168" fmla="*/ 2696581 w 3817880"/>
                <a:gd name="connsiteY168" fmla="*/ 131093 h 420659"/>
                <a:gd name="connsiteX169" fmla="*/ 2696581 w 3817880"/>
                <a:gd name="connsiteY169" fmla="*/ 114053 h 420659"/>
                <a:gd name="connsiteX170" fmla="*/ 2773258 w 3817880"/>
                <a:gd name="connsiteY170" fmla="*/ 114053 h 420659"/>
                <a:gd name="connsiteX171" fmla="*/ 2773258 w 3817880"/>
                <a:gd name="connsiteY171" fmla="*/ 131093 h 420659"/>
                <a:gd name="connsiteX172" fmla="*/ 2748231 w 3817880"/>
                <a:gd name="connsiteY172" fmla="*/ 134287 h 420659"/>
                <a:gd name="connsiteX173" fmla="*/ 2671554 w 3817880"/>
                <a:gd name="connsiteY173" fmla="*/ 325448 h 420659"/>
                <a:gd name="connsiteX174" fmla="*/ 2646528 w 3817880"/>
                <a:gd name="connsiteY174" fmla="*/ 325448 h 420659"/>
                <a:gd name="connsiteX175" fmla="*/ 2575708 w 3817880"/>
                <a:gd name="connsiteY175" fmla="*/ 132690 h 420659"/>
                <a:gd name="connsiteX176" fmla="*/ 2548552 w 3817880"/>
                <a:gd name="connsiteY176" fmla="*/ 130560 h 420659"/>
                <a:gd name="connsiteX177" fmla="*/ 2548552 w 3817880"/>
                <a:gd name="connsiteY177" fmla="*/ 114053 h 420659"/>
                <a:gd name="connsiteX178" fmla="*/ 2548019 w 3817880"/>
                <a:gd name="connsiteY178" fmla="*/ 114053 h 420659"/>
                <a:gd name="connsiteX179" fmla="*/ 2873364 w 3817880"/>
                <a:gd name="connsiteY179" fmla="*/ 110326 h 420659"/>
                <a:gd name="connsiteX180" fmla="*/ 2873364 w 3817880"/>
                <a:gd name="connsiteY180" fmla="*/ 129495 h 420659"/>
                <a:gd name="connsiteX181" fmla="*/ 2839818 w 3817880"/>
                <a:gd name="connsiteY181" fmla="*/ 147599 h 420659"/>
                <a:gd name="connsiteX182" fmla="*/ 2822779 w 3817880"/>
                <a:gd name="connsiteY182" fmla="*/ 191263 h 420659"/>
                <a:gd name="connsiteX183" fmla="*/ 2873364 w 3817880"/>
                <a:gd name="connsiteY183" fmla="*/ 191263 h 420659"/>
                <a:gd name="connsiteX184" fmla="*/ 2873364 w 3817880"/>
                <a:gd name="connsiteY184" fmla="*/ 209367 h 420659"/>
                <a:gd name="connsiteX185" fmla="*/ 2820649 w 3817880"/>
                <a:gd name="connsiteY185" fmla="*/ 209367 h 420659"/>
                <a:gd name="connsiteX186" fmla="*/ 2820649 w 3817880"/>
                <a:gd name="connsiteY186" fmla="*/ 215224 h 420659"/>
                <a:gd name="connsiteX187" fmla="*/ 2839818 w 3817880"/>
                <a:gd name="connsiteY187" fmla="*/ 280719 h 420659"/>
                <a:gd name="connsiteX188" fmla="*/ 2873364 w 3817880"/>
                <a:gd name="connsiteY188" fmla="*/ 302019 h 420659"/>
                <a:gd name="connsiteX189" fmla="*/ 2873364 w 3817880"/>
                <a:gd name="connsiteY189" fmla="*/ 329175 h 420659"/>
                <a:gd name="connsiteX190" fmla="*/ 2808934 w 3817880"/>
                <a:gd name="connsiteY190" fmla="*/ 299889 h 420659"/>
                <a:gd name="connsiteX191" fmla="*/ 2781778 w 3817880"/>
                <a:gd name="connsiteY191" fmla="*/ 221082 h 420659"/>
                <a:gd name="connsiteX192" fmla="*/ 2809999 w 3817880"/>
                <a:gd name="connsiteY192" fmla="*/ 141210 h 420659"/>
                <a:gd name="connsiteX193" fmla="*/ 2873364 w 3817880"/>
                <a:gd name="connsiteY193" fmla="*/ 110326 h 420659"/>
                <a:gd name="connsiteX194" fmla="*/ 2873364 w 3817880"/>
                <a:gd name="connsiteY194" fmla="*/ 110326 h 420659"/>
                <a:gd name="connsiteX195" fmla="*/ 1632686 w 3817880"/>
                <a:gd name="connsiteY195" fmla="*/ 323318 h 420659"/>
                <a:gd name="connsiteX196" fmla="*/ 1632686 w 3817880"/>
                <a:gd name="connsiteY196" fmla="*/ 304149 h 420659"/>
                <a:gd name="connsiteX197" fmla="*/ 1647063 w 3817880"/>
                <a:gd name="connsiteY197" fmla="*/ 299889 h 420659"/>
                <a:gd name="connsiteX198" fmla="*/ 1677414 w 3817880"/>
                <a:gd name="connsiteY198" fmla="*/ 285512 h 420659"/>
                <a:gd name="connsiteX199" fmla="*/ 1677414 w 3817880"/>
                <a:gd name="connsiteY199" fmla="*/ 207237 h 420659"/>
                <a:gd name="connsiteX200" fmla="*/ 1632153 w 3817880"/>
                <a:gd name="connsiteY200" fmla="*/ 222147 h 420659"/>
                <a:gd name="connsiteX201" fmla="*/ 1632153 w 3817880"/>
                <a:gd name="connsiteY201" fmla="*/ 204042 h 420659"/>
                <a:gd name="connsiteX202" fmla="*/ 1677414 w 3817880"/>
                <a:gd name="connsiteY202" fmla="*/ 192860 h 420659"/>
                <a:gd name="connsiteX203" fmla="*/ 1677414 w 3817880"/>
                <a:gd name="connsiteY203" fmla="*/ 178483 h 420659"/>
                <a:gd name="connsiteX204" fmla="*/ 1668362 w 3817880"/>
                <a:gd name="connsiteY204" fmla="*/ 140145 h 420659"/>
                <a:gd name="connsiteX205" fmla="*/ 1636946 w 3817880"/>
                <a:gd name="connsiteY205" fmla="*/ 130028 h 420659"/>
                <a:gd name="connsiteX206" fmla="*/ 1632686 w 3817880"/>
                <a:gd name="connsiteY206" fmla="*/ 130028 h 420659"/>
                <a:gd name="connsiteX207" fmla="*/ 1632686 w 3817880"/>
                <a:gd name="connsiteY207" fmla="*/ 110858 h 420659"/>
                <a:gd name="connsiteX208" fmla="*/ 1648660 w 3817880"/>
                <a:gd name="connsiteY208" fmla="*/ 109794 h 420659"/>
                <a:gd name="connsiteX209" fmla="*/ 1699246 w 3817880"/>
                <a:gd name="connsiteY209" fmla="*/ 125768 h 420659"/>
                <a:gd name="connsiteX210" fmla="*/ 1715220 w 3817880"/>
                <a:gd name="connsiteY210" fmla="*/ 174223 h 420659"/>
                <a:gd name="connsiteX211" fmla="*/ 1715220 w 3817880"/>
                <a:gd name="connsiteY211" fmla="*/ 300421 h 420659"/>
                <a:gd name="connsiteX212" fmla="*/ 1722143 w 3817880"/>
                <a:gd name="connsiteY212" fmla="*/ 308408 h 420659"/>
                <a:gd name="connsiteX213" fmla="*/ 1745572 w 3817880"/>
                <a:gd name="connsiteY213" fmla="*/ 310538 h 420659"/>
                <a:gd name="connsiteX214" fmla="*/ 1745572 w 3817880"/>
                <a:gd name="connsiteY214" fmla="*/ 326513 h 420659"/>
                <a:gd name="connsiteX215" fmla="*/ 1683804 w 3817880"/>
                <a:gd name="connsiteY215" fmla="*/ 326513 h 420659"/>
                <a:gd name="connsiteX216" fmla="*/ 1677947 w 3817880"/>
                <a:gd name="connsiteY216" fmla="*/ 300421 h 420659"/>
                <a:gd name="connsiteX217" fmla="*/ 1638543 w 3817880"/>
                <a:gd name="connsiteY217" fmla="*/ 321720 h 420659"/>
                <a:gd name="connsiteX218" fmla="*/ 1632686 w 3817880"/>
                <a:gd name="connsiteY218" fmla="*/ 323318 h 420659"/>
                <a:gd name="connsiteX219" fmla="*/ 1632686 w 3817880"/>
                <a:gd name="connsiteY219" fmla="*/ 323318 h 420659"/>
                <a:gd name="connsiteX220" fmla="*/ 2494771 w 3817880"/>
                <a:gd name="connsiteY220" fmla="*/ 15012 h 420659"/>
                <a:gd name="connsiteX221" fmla="*/ 2512875 w 3817880"/>
                <a:gd name="connsiteY221" fmla="*/ 22999 h 420659"/>
                <a:gd name="connsiteX222" fmla="*/ 2520862 w 3817880"/>
                <a:gd name="connsiteY222" fmla="*/ 41104 h 420659"/>
                <a:gd name="connsiteX223" fmla="*/ 2512875 w 3817880"/>
                <a:gd name="connsiteY223" fmla="*/ 58143 h 420659"/>
                <a:gd name="connsiteX224" fmla="*/ 2494771 w 3817880"/>
                <a:gd name="connsiteY224" fmla="*/ 66130 h 420659"/>
                <a:gd name="connsiteX225" fmla="*/ 2477731 w 3817880"/>
                <a:gd name="connsiteY225" fmla="*/ 58143 h 420659"/>
                <a:gd name="connsiteX226" fmla="*/ 2469744 w 3817880"/>
                <a:gd name="connsiteY226" fmla="*/ 41104 h 420659"/>
                <a:gd name="connsiteX227" fmla="*/ 2477731 w 3817880"/>
                <a:gd name="connsiteY227" fmla="*/ 22999 h 420659"/>
                <a:gd name="connsiteX228" fmla="*/ 2494771 w 3817880"/>
                <a:gd name="connsiteY228" fmla="*/ 15012 h 420659"/>
                <a:gd name="connsiteX229" fmla="*/ 2494771 w 3817880"/>
                <a:gd name="connsiteY229" fmla="*/ 15012 h 420659"/>
                <a:gd name="connsiteX230" fmla="*/ 2493706 w 3817880"/>
                <a:gd name="connsiteY230" fmla="*/ 112988 h 420659"/>
                <a:gd name="connsiteX231" fmla="*/ 2510745 w 3817880"/>
                <a:gd name="connsiteY231" fmla="*/ 112988 h 420659"/>
                <a:gd name="connsiteX232" fmla="*/ 2510745 w 3817880"/>
                <a:gd name="connsiteY232" fmla="*/ 299889 h 420659"/>
                <a:gd name="connsiteX233" fmla="*/ 2518732 w 3817880"/>
                <a:gd name="connsiteY233" fmla="*/ 307876 h 420659"/>
                <a:gd name="connsiteX234" fmla="*/ 2542162 w 3817880"/>
                <a:gd name="connsiteY234" fmla="*/ 310006 h 420659"/>
                <a:gd name="connsiteX235" fmla="*/ 2542162 w 3817880"/>
                <a:gd name="connsiteY235" fmla="*/ 325980 h 420659"/>
                <a:gd name="connsiteX236" fmla="*/ 2443120 w 3817880"/>
                <a:gd name="connsiteY236" fmla="*/ 325980 h 420659"/>
                <a:gd name="connsiteX237" fmla="*/ 2443120 w 3817880"/>
                <a:gd name="connsiteY237" fmla="*/ 310006 h 420659"/>
                <a:gd name="connsiteX238" fmla="*/ 2466549 w 3817880"/>
                <a:gd name="connsiteY238" fmla="*/ 307876 h 420659"/>
                <a:gd name="connsiteX239" fmla="*/ 2473472 w 3817880"/>
                <a:gd name="connsiteY239" fmla="*/ 299889 h 420659"/>
                <a:gd name="connsiteX240" fmla="*/ 2473472 w 3817880"/>
                <a:gd name="connsiteY240" fmla="*/ 142275 h 420659"/>
                <a:gd name="connsiteX241" fmla="*/ 2443120 w 3817880"/>
                <a:gd name="connsiteY241" fmla="*/ 142275 h 420659"/>
                <a:gd name="connsiteX242" fmla="*/ 2443120 w 3817880"/>
                <a:gd name="connsiteY242" fmla="*/ 127365 h 420659"/>
                <a:gd name="connsiteX243" fmla="*/ 2493706 w 3817880"/>
                <a:gd name="connsiteY243" fmla="*/ 112988 h 420659"/>
                <a:gd name="connsiteX244" fmla="*/ 2493706 w 3817880"/>
                <a:gd name="connsiteY244" fmla="*/ 112988 h 420659"/>
                <a:gd name="connsiteX245" fmla="*/ 2191790 w 3817880"/>
                <a:gd name="connsiteY245" fmla="*/ 325448 h 420659"/>
                <a:gd name="connsiteX246" fmla="*/ 2191790 w 3817880"/>
                <a:gd name="connsiteY246" fmla="*/ 309473 h 420659"/>
                <a:gd name="connsiteX247" fmla="*/ 2215219 w 3817880"/>
                <a:gd name="connsiteY247" fmla="*/ 307343 h 420659"/>
                <a:gd name="connsiteX248" fmla="*/ 2223206 w 3817880"/>
                <a:gd name="connsiteY248" fmla="*/ 299356 h 420659"/>
                <a:gd name="connsiteX249" fmla="*/ 2223206 w 3817880"/>
                <a:gd name="connsiteY249" fmla="*/ 141742 h 420659"/>
                <a:gd name="connsiteX250" fmla="*/ 2191790 w 3817880"/>
                <a:gd name="connsiteY250" fmla="*/ 141742 h 420659"/>
                <a:gd name="connsiteX251" fmla="*/ 2191790 w 3817880"/>
                <a:gd name="connsiteY251" fmla="*/ 127365 h 420659"/>
                <a:gd name="connsiteX252" fmla="*/ 2242376 w 3817880"/>
                <a:gd name="connsiteY252" fmla="*/ 112456 h 420659"/>
                <a:gd name="connsiteX253" fmla="*/ 2259415 w 3817880"/>
                <a:gd name="connsiteY253" fmla="*/ 112456 h 420659"/>
                <a:gd name="connsiteX254" fmla="*/ 2259415 w 3817880"/>
                <a:gd name="connsiteY254" fmla="*/ 135885 h 420659"/>
                <a:gd name="connsiteX255" fmla="*/ 2302013 w 3817880"/>
                <a:gd name="connsiteY255" fmla="*/ 115651 h 420659"/>
                <a:gd name="connsiteX256" fmla="*/ 2330235 w 3817880"/>
                <a:gd name="connsiteY256" fmla="*/ 108729 h 420659"/>
                <a:gd name="connsiteX257" fmla="*/ 2373898 w 3817880"/>
                <a:gd name="connsiteY257" fmla="*/ 126833 h 420659"/>
                <a:gd name="connsiteX258" fmla="*/ 2388275 w 3817880"/>
                <a:gd name="connsiteY258" fmla="*/ 176354 h 420659"/>
                <a:gd name="connsiteX259" fmla="*/ 2388275 w 3817880"/>
                <a:gd name="connsiteY259" fmla="*/ 298824 h 420659"/>
                <a:gd name="connsiteX260" fmla="*/ 2396262 w 3817880"/>
                <a:gd name="connsiteY260" fmla="*/ 306811 h 420659"/>
                <a:gd name="connsiteX261" fmla="*/ 2419691 w 3817880"/>
                <a:gd name="connsiteY261" fmla="*/ 308941 h 420659"/>
                <a:gd name="connsiteX262" fmla="*/ 2419691 w 3817880"/>
                <a:gd name="connsiteY262" fmla="*/ 324915 h 420659"/>
                <a:gd name="connsiteX263" fmla="*/ 2323845 w 3817880"/>
                <a:gd name="connsiteY263" fmla="*/ 324915 h 420659"/>
                <a:gd name="connsiteX264" fmla="*/ 2323845 w 3817880"/>
                <a:gd name="connsiteY264" fmla="*/ 308941 h 420659"/>
                <a:gd name="connsiteX265" fmla="*/ 2344079 w 3817880"/>
                <a:gd name="connsiteY265" fmla="*/ 306811 h 420659"/>
                <a:gd name="connsiteX266" fmla="*/ 2352066 w 3817880"/>
                <a:gd name="connsiteY266" fmla="*/ 298824 h 420659"/>
                <a:gd name="connsiteX267" fmla="*/ 2352066 w 3817880"/>
                <a:gd name="connsiteY267" fmla="*/ 182743 h 420659"/>
                <a:gd name="connsiteX268" fmla="*/ 2341949 w 3817880"/>
                <a:gd name="connsiteY268" fmla="*/ 147599 h 420659"/>
                <a:gd name="connsiteX269" fmla="*/ 2308403 w 3817880"/>
                <a:gd name="connsiteY269" fmla="*/ 137482 h 420659"/>
                <a:gd name="connsiteX270" fmla="*/ 2284974 w 3817880"/>
                <a:gd name="connsiteY270" fmla="*/ 140677 h 420659"/>
                <a:gd name="connsiteX271" fmla="*/ 2258882 w 3817880"/>
                <a:gd name="connsiteY271" fmla="*/ 151859 h 420659"/>
                <a:gd name="connsiteX272" fmla="*/ 2258882 w 3817880"/>
                <a:gd name="connsiteY272" fmla="*/ 298291 h 420659"/>
                <a:gd name="connsiteX273" fmla="*/ 2266870 w 3817880"/>
                <a:gd name="connsiteY273" fmla="*/ 306279 h 420659"/>
                <a:gd name="connsiteX274" fmla="*/ 2287104 w 3817880"/>
                <a:gd name="connsiteY274" fmla="*/ 308408 h 420659"/>
                <a:gd name="connsiteX275" fmla="*/ 2287104 w 3817880"/>
                <a:gd name="connsiteY275" fmla="*/ 324383 h 420659"/>
                <a:gd name="connsiteX276" fmla="*/ 2191790 w 3817880"/>
                <a:gd name="connsiteY276" fmla="*/ 324383 h 420659"/>
                <a:gd name="connsiteX277" fmla="*/ 2191790 w 3817880"/>
                <a:gd name="connsiteY277" fmla="*/ 325448 h 420659"/>
                <a:gd name="connsiteX278" fmla="*/ 1885614 w 3817880"/>
                <a:gd name="connsiteY278" fmla="*/ 31519 h 420659"/>
                <a:gd name="connsiteX279" fmla="*/ 1992642 w 3817880"/>
                <a:gd name="connsiteY279" fmla="*/ 31519 h 420659"/>
                <a:gd name="connsiteX280" fmla="*/ 1992642 w 3817880"/>
                <a:gd name="connsiteY280" fmla="*/ 48558 h 420659"/>
                <a:gd name="connsiteX281" fmla="*/ 1965486 w 3817880"/>
                <a:gd name="connsiteY281" fmla="*/ 50688 h 420659"/>
                <a:gd name="connsiteX282" fmla="*/ 1958563 w 3817880"/>
                <a:gd name="connsiteY282" fmla="*/ 57610 h 420659"/>
                <a:gd name="connsiteX283" fmla="*/ 1958563 w 3817880"/>
                <a:gd name="connsiteY283" fmla="*/ 216289 h 420659"/>
                <a:gd name="connsiteX284" fmla="*/ 1976668 w 3817880"/>
                <a:gd name="connsiteY284" fmla="*/ 282849 h 420659"/>
                <a:gd name="connsiteX285" fmla="*/ 2036306 w 3817880"/>
                <a:gd name="connsiteY285" fmla="*/ 303084 h 420659"/>
                <a:gd name="connsiteX286" fmla="*/ 2095944 w 3817880"/>
                <a:gd name="connsiteY286" fmla="*/ 282849 h 420659"/>
                <a:gd name="connsiteX287" fmla="*/ 2114048 w 3817880"/>
                <a:gd name="connsiteY287" fmla="*/ 216289 h 420659"/>
                <a:gd name="connsiteX288" fmla="*/ 2114048 w 3817880"/>
                <a:gd name="connsiteY288" fmla="*/ 60805 h 420659"/>
                <a:gd name="connsiteX289" fmla="*/ 2106061 w 3817880"/>
                <a:gd name="connsiteY289" fmla="*/ 52818 h 420659"/>
                <a:gd name="connsiteX290" fmla="*/ 2078904 w 3817880"/>
                <a:gd name="connsiteY290" fmla="*/ 48558 h 420659"/>
                <a:gd name="connsiteX291" fmla="*/ 2078904 w 3817880"/>
                <a:gd name="connsiteY291" fmla="*/ 31519 h 420659"/>
                <a:gd name="connsiteX292" fmla="*/ 2172088 w 3817880"/>
                <a:gd name="connsiteY292" fmla="*/ 31519 h 420659"/>
                <a:gd name="connsiteX293" fmla="*/ 2172088 w 3817880"/>
                <a:gd name="connsiteY293" fmla="*/ 48558 h 420659"/>
                <a:gd name="connsiteX294" fmla="*/ 2144932 w 3817880"/>
                <a:gd name="connsiteY294" fmla="*/ 52818 h 420659"/>
                <a:gd name="connsiteX295" fmla="*/ 2136944 w 3817880"/>
                <a:gd name="connsiteY295" fmla="*/ 60805 h 420659"/>
                <a:gd name="connsiteX296" fmla="*/ 2136944 w 3817880"/>
                <a:gd name="connsiteY296" fmla="*/ 219484 h 420659"/>
                <a:gd name="connsiteX297" fmla="*/ 2132685 w 3817880"/>
                <a:gd name="connsiteY297" fmla="*/ 267940 h 420659"/>
                <a:gd name="connsiteX298" fmla="*/ 2118308 w 3817880"/>
                <a:gd name="connsiteY298" fmla="*/ 297226 h 420659"/>
                <a:gd name="connsiteX299" fmla="*/ 2081034 w 3817880"/>
                <a:gd name="connsiteY299" fmla="*/ 320655 h 420659"/>
                <a:gd name="connsiteX300" fmla="*/ 2028319 w 3817880"/>
                <a:gd name="connsiteY300" fmla="*/ 329708 h 420659"/>
                <a:gd name="connsiteX301" fmla="*/ 1974538 w 3817880"/>
                <a:gd name="connsiteY301" fmla="*/ 320655 h 420659"/>
                <a:gd name="connsiteX302" fmla="*/ 1937264 w 3817880"/>
                <a:gd name="connsiteY302" fmla="*/ 297226 h 420659"/>
                <a:gd name="connsiteX303" fmla="*/ 1922888 w 3817880"/>
                <a:gd name="connsiteY303" fmla="*/ 267940 h 420659"/>
                <a:gd name="connsiteX304" fmla="*/ 1918627 w 3817880"/>
                <a:gd name="connsiteY304" fmla="*/ 219484 h 420659"/>
                <a:gd name="connsiteX305" fmla="*/ 1918627 w 3817880"/>
                <a:gd name="connsiteY305" fmla="*/ 57610 h 420659"/>
                <a:gd name="connsiteX306" fmla="*/ 1910640 w 3817880"/>
                <a:gd name="connsiteY306" fmla="*/ 50688 h 420659"/>
                <a:gd name="connsiteX307" fmla="*/ 1885614 w 3817880"/>
                <a:gd name="connsiteY307" fmla="*/ 48558 h 420659"/>
                <a:gd name="connsiteX308" fmla="*/ 1885614 w 3817880"/>
                <a:gd name="connsiteY308" fmla="*/ 31519 h 420659"/>
                <a:gd name="connsiteX309" fmla="*/ 1632686 w 3817880"/>
                <a:gd name="connsiteY309" fmla="*/ 110326 h 420659"/>
                <a:gd name="connsiteX310" fmla="*/ 1632686 w 3817880"/>
                <a:gd name="connsiteY310" fmla="*/ 129495 h 420659"/>
                <a:gd name="connsiteX311" fmla="*/ 1621504 w 3817880"/>
                <a:gd name="connsiteY311" fmla="*/ 130560 h 420659"/>
                <a:gd name="connsiteX312" fmla="*/ 1604464 w 3817880"/>
                <a:gd name="connsiteY312" fmla="*/ 136418 h 420659"/>
                <a:gd name="connsiteX313" fmla="*/ 1604464 w 3817880"/>
                <a:gd name="connsiteY313" fmla="*/ 173691 h 420659"/>
                <a:gd name="connsiteX314" fmla="*/ 1574113 w 3817880"/>
                <a:gd name="connsiteY314" fmla="*/ 173691 h 420659"/>
                <a:gd name="connsiteX315" fmla="*/ 1562931 w 3817880"/>
                <a:gd name="connsiteY315" fmla="*/ 170496 h 420659"/>
                <a:gd name="connsiteX316" fmla="*/ 1560801 w 3817880"/>
                <a:gd name="connsiteY316" fmla="*/ 160379 h 420659"/>
                <a:gd name="connsiteX317" fmla="*/ 1584230 w 3817880"/>
                <a:gd name="connsiteY317" fmla="*/ 124170 h 420659"/>
                <a:gd name="connsiteX318" fmla="*/ 1632686 w 3817880"/>
                <a:gd name="connsiteY318" fmla="*/ 110326 h 420659"/>
                <a:gd name="connsiteX319" fmla="*/ 1632686 w 3817880"/>
                <a:gd name="connsiteY319" fmla="*/ 110326 h 420659"/>
                <a:gd name="connsiteX320" fmla="*/ 1632686 w 3817880"/>
                <a:gd name="connsiteY320" fmla="*/ 204042 h 420659"/>
                <a:gd name="connsiteX321" fmla="*/ 1632686 w 3817880"/>
                <a:gd name="connsiteY321" fmla="*/ 222147 h 420659"/>
                <a:gd name="connsiteX322" fmla="*/ 1605529 w 3817880"/>
                <a:gd name="connsiteY322" fmla="*/ 235459 h 420659"/>
                <a:gd name="connsiteX323" fmla="*/ 1587425 w 3817880"/>
                <a:gd name="connsiteY323" fmla="*/ 269005 h 420659"/>
                <a:gd name="connsiteX324" fmla="*/ 1597542 w 3817880"/>
                <a:gd name="connsiteY324" fmla="*/ 295096 h 420659"/>
                <a:gd name="connsiteX325" fmla="*/ 1623634 w 3817880"/>
                <a:gd name="connsiteY325" fmla="*/ 304149 h 420659"/>
                <a:gd name="connsiteX326" fmla="*/ 1632686 w 3817880"/>
                <a:gd name="connsiteY326" fmla="*/ 304149 h 420659"/>
                <a:gd name="connsiteX327" fmla="*/ 1632686 w 3817880"/>
                <a:gd name="connsiteY327" fmla="*/ 323318 h 420659"/>
                <a:gd name="connsiteX328" fmla="*/ 1605529 w 3817880"/>
                <a:gd name="connsiteY328" fmla="*/ 327578 h 420659"/>
                <a:gd name="connsiteX329" fmla="*/ 1565061 w 3817880"/>
                <a:gd name="connsiteY329" fmla="*/ 313201 h 420659"/>
                <a:gd name="connsiteX330" fmla="*/ 1549087 w 3817880"/>
                <a:gd name="connsiteY330" fmla="*/ 272732 h 420659"/>
                <a:gd name="connsiteX331" fmla="*/ 1572516 w 3817880"/>
                <a:gd name="connsiteY331" fmla="*/ 227471 h 420659"/>
                <a:gd name="connsiteX332" fmla="*/ 1632686 w 3817880"/>
                <a:gd name="connsiteY332" fmla="*/ 204042 h 420659"/>
                <a:gd name="connsiteX333" fmla="*/ 1632686 w 3817880"/>
                <a:gd name="connsiteY333" fmla="*/ 204042 h 420659"/>
                <a:gd name="connsiteX334" fmla="*/ 913306 w 3817880"/>
                <a:gd name="connsiteY334" fmla="*/ 420229 h 420659"/>
                <a:gd name="connsiteX335" fmla="*/ 913306 w 3817880"/>
                <a:gd name="connsiteY335" fmla="*/ 401060 h 420659"/>
                <a:gd name="connsiteX336" fmla="*/ 917565 w 3817880"/>
                <a:gd name="connsiteY336" fmla="*/ 401060 h 420659"/>
                <a:gd name="connsiteX337" fmla="*/ 963891 w 3817880"/>
                <a:gd name="connsiteY337" fmla="*/ 387748 h 420659"/>
                <a:gd name="connsiteX338" fmla="*/ 983061 w 3817880"/>
                <a:gd name="connsiteY338" fmla="*/ 354202 h 420659"/>
                <a:gd name="connsiteX339" fmla="*/ 975073 w 3817880"/>
                <a:gd name="connsiteY339" fmla="*/ 332903 h 420659"/>
                <a:gd name="connsiteX340" fmla="*/ 937800 w 3817880"/>
                <a:gd name="connsiteY340" fmla="*/ 320655 h 420659"/>
                <a:gd name="connsiteX341" fmla="*/ 912773 w 3817880"/>
                <a:gd name="connsiteY341" fmla="*/ 316396 h 420659"/>
                <a:gd name="connsiteX342" fmla="*/ 912773 w 3817880"/>
                <a:gd name="connsiteY342" fmla="*/ 284979 h 420659"/>
                <a:gd name="connsiteX343" fmla="*/ 940995 w 3817880"/>
                <a:gd name="connsiteY343" fmla="*/ 289239 h 420659"/>
                <a:gd name="connsiteX344" fmla="*/ 998502 w 3817880"/>
                <a:gd name="connsiteY344" fmla="*/ 308408 h 420659"/>
                <a:gd name="connsiteX345" fmla="*/ 1015542 w 3817880"/>
                <a:gd name="connsiteY345" fmla="*/ 343552 h 420659"/>
                <a:gd name="connsiteX346" fmla="*/ 1008620 w 3817880"/>
                <a:gd name="connsiteY346" fmla="*/ 369644 h 420659"/>
                <a:gd name="connsiteX347" fmla="*/ 988385 w 3817880"/>
                <a:gd name="connsiteY347" fmla="*/ 393073 h 420659"/>
                <a:gd name="connsiteX348" fmla="*/ 948982 w 3817880"/>
                <a:gd name="connsiteY348" fmla="*/ 414372 h 420659"/>
                <a:gd name="connsiteX349" fmla="*/ 913306 w 3817880"/>
                <a:gd name="connsiteY349" fmla="*/ 420229 h 420659"/>
                <a:gd name="connsiteX350" fmla="*/ 913306 w 3817880"/>
                <a:gd name="connsiteY350" fmla="*/ 420229 h 420659"/>
                <a:gd name="connsiteX351" fmla="*/ 913306 w 3817880"/>
                <a:gd name="connsiteY351" fmla="*/ 252498 h 420659"/>
                <a:gd name="connsiteX352" fmla="*/ 913306 w 3817880"/>
                <a:gd name="connsiteY352" fmla="*/ 234394 h 420659"/>
                <a:gd name="connsiteX353" fmla="*/ 913306 w 3817880"/>
                <a:gd name="connsiteY353" fmla="*/ 234394 h 420659"/>
                <a:gd name="connsiteX354" fmla="*/ 944722 w 3817880"/>
                <a:gd name="connsiteY354" fmla="*/ 219484 h 420659"/>
                <a:gd name="connsiteX355" fmla="*/ 955904 w 3817880"/>
                <a:gd name="connsiteY355" fmla="*/ 181146 h 420659"/>
                <a:gd name="connsiteX356" fmla="*/ 944722 w 3817880"/>
                <a:gd name="connsiteY356" fmla="*/ 141742 h 420659"/>
                <a:gd name="connsiteX357" fmla="*/ 913306 w 3817880"/>
                <a:gd name="connsiteY357" fmla="*/ 127365 h 420659"/>
                <a:gd name="connsiteX358" fmla="*/ 913306 w 3817880"/>
                <a:gd name="connsiteY358" fmla="*/ 127365 h 420659"/>
                <a:gd name="connsiteX359" fmla="*/ 913306 w 3817880"/>
                <a:gd name="connsiteY359" fmla="*/ 110326 h 420659"/>
                <a:gd name="connsiteX360" fmla="*/ 917565 w 3817880"/>
                <a:gd name="connsiteY360" fmla="*/ 109261 h 420659"/>
                <a:gd name="connsiteX361" fmla="*/ 942592 w 3817880"/>
                <a:gd name="connsiteY361" fmla="*/ 112456 h 420659"/>
                <a:gd name="connsiteX362" fmla="*/ 967619 w 3817880"/>
                <a:gd name="connsiteY362" fmla="*/ 122573 h 420659"/>
                <a:gd name="connsiteX363" fmla="*/ 1030451 w 3817880"/>
                <a:gd name="connsiteY363" fmla="*/ 122573 h 420659"/>
                <a:gd name="connsiteX364" fmla="*/ 1030451 w 3817880"/>
                <a:gd name="connsiteY364" fmla="*/ 142807 h 420659"/>
                <a:gd name="connsiteX365" fmla="*/ 981996 w 3817880"/>
                <a:gd name="connsiteY365" fmla="*/ 142807 h 420659"/>
                <a:gd name="connsiteX366" fmla="*/ 991048 w 3817880"/>
                <a:gd name="connsiteY366" fmla="*/ 161976 h 420659"/>
                <a:gd name="connsiteX367" fmla="*/ 994243 w 3817880"/>
                <a:gd name="connsiteY367" fmla="*/ 183276 h 420659"/>
                <a:gd name="connsiteX368" fmla="*/ 970813 w 3817880"/>
                <a:gd name="connsiteY368" fmla="*/ 232796 h 420659"/>
                <a:gd name="connsiteX369" fmla="*/ 913306 w 3817880"/>
                <a:gd name="connsiteY369" fmla="*/ 252498 h 420659"/>
                <a:gd name="connsiteX370" fmla="*/ 913306 w 3817880"/>
                <a:gd name="connsiteY370" fmla="*/ 252498 h 420659"/>
                <a:gd name="connsiteX371" fmla="*/ 1344082 w 3817880"/>
                <a:gd name="connsiteY371" fmla="*/ 109261 h 420659"/>
                <a:gd name="connsiteX372" fmla="*/ 1361121 w 3817880"/>
                <a:gd name="connsiteY372" fmla="*/ 109261 h 420659"/>
                <a:gd name="connsiteX373" fmla="*/ 1361121 w 3817880"/>
                <a:gd name="connsiteY373" fmla="*/ 254628 h 420659"/>
                <a:gd name="connsiteX374" fmla="*/ 1371238 w 3817880"/>
                <a:gd name="connsiteY374" fmla="*/ 290837 h 420659"/>
                <a:gd name="connsiteX375" fmla="*/ 1402655 w 3817880"/>
                <a:gd name="connsiteY375" fmla="*/ 302019 h 420659"/>
                <a:gd name="connsiteX376" fmla="*/ 1427681 w 3817880"/>
                <a:gd name="connsiteY376" fmla="*/ 298824 h 420659"/>
                <a:gd name="connsiteX377" fmla="*/ 1453773 w 3817880"/>
                <a:gd name="connsiteY377" fmla="*/ 288707 h 420659"/>
                <a:gd name="connsiteX378" fmla="*/ 1453773 w 3817880"/>
                <a:gd name="connsiteY378" fmla="*/ 140145 h 420659"/>
                <a:gd name="connsiteX379" fmla="*/ 1422889 w 3817880"/>
                <a:gd name="connsiteY379" fmla="*/ 140145 h 420659"/>
                <a:gd name="connsiteX380" fmla="*/ 1422889 w 3817880"/>
                <a:gd name="connsiteY380" fmla="*/ 126833 h 420659"/>
                <a:gd name="connsiteX381" fmla="*/ 1473474 w 3817880"/>
                <a:gd name="connsiteY381" fmla="*/ 109794 h 420659"/>
                <a:gd name="connsiteX382" fmla="*/ 1490514 w 3817880"/>
                <a:gd name="connsiteY382" fmla="*/ 109794 h 420659"/>
                <a:gd name="connsiteX383" fmla="*/ 1490514 w 3817880"/>
                <a:gd name="connsiteY383" fmla="*/ 299889 h 420659"/>
                <a:gd name="connsiteX384" fmla="*/ 1498501 w 3817880"/>
                <a:gd name="connsiteY384" fmla="*/ 307876 h 420659"/>
                <a:gd name="connsiteX385" fmla="*/ 1518735 w 3817880"/>
                <a:gd name="connsiteY385" fmla="*/ 310006 h 420659"/>
                <a:gd name="connsiteX386" fmla="*/ 1518735 w 3817880"/>
                <a:gd name="connsiteY386" fmla="*/ 325980 h 420659"/>
                <a:gd name="connsiteX387" fmla="*/ 1453240 w 3817880"/>
                <a:gd name="connsiteY387" fmla="*/ 325980 h 420659"/>
                <a:gd name="connsiteX388" fmla="*/ 1453240 w 3817880"/>
                <a:gd name="connsiteY388" fmla="*/ 300954 h 420659"/>
                <a:gd name="connsiteX389" fmla="*/ 1415967 w 3817880"/>
                <a:gd name="connsiteY389" fmla="*/ 322253 h 420659"/>
                <a:gd name="connsiteX390" fmla="*/ 1382421 w 3817880"/>
                <a:gd name="connsiteY390" fmla="*/ 329175 h 420659"/>
                <a:gd name="connsiteX391" fmla="*/ 1339822 w 3817880"/>
                <a:gd name="connsiteY391" fmla="*/ 312136 h 420659"/>
                <a:gd name="connsiteX392" fmla="*/ 1323848 w 3817880"/>
                <a:gd name="connsiteY392" fmla="*/ 262615 h 420659"/>
                <a:gd name="connsiteX393" fmla="*/ 1323848 w 3817880"/>
                <a:gd name="connsiteY393" fmla="*/ 140145 h 420659"/>
                <a:gd name="connsiteX394" fmla="*/ 1292431 w 3817880"/>
                <a:gd name="connsiteY394" fmla="*/ 140145 h 420659"/>
                <a:gd name="connsiteX395" fmla="*/ 1292431 w 3817880"/>
                <a:gd name="connsiteY395" fmla="*/ 126833 h 420659"/>
                <a:gd name="connsiteX396" fmla="*/ 1344082 w 3817880"/>
                <a:gd name="connsiteY396" fmla="*/ 109261 h 420659"/>
                <a:gd name="connsiteX397" fmla="*/ 1344082 w 3817880"/>
                <a:gd name="connsiteY397" fmla="*/ 109261 h 420659"/>
                <a:gd name="connsiteX398" fmla="*/ 1096479 w 3817880"/>
                <a:gd name="connsiteY398" fmla="*/ 2233 h 420659"/>
                <a:gd name="connsiteX399" fmla="*/ 1113518 w 3817880"/>
                <a:gd name="connsiteY399" fmla="*/ 2233 h 420659"/>
                <a:gd name="connsiteX400" fmla="*/ 1113518 w 3817880"/>
                <a:gd name="connsiteY400" fmla="*/ 136418 h 420659"/>
                <a:gd name="connsiteX401" fmla="*/ 1155052 w 3817880"/>
                <a:gd name="connsiteY401" fmla="*/ 116183 h 420659"/>
                <a:gd name="connsiteX402" fmla="*/ 1184338 w 3817880"/>
                <a:gd name="connsiteY402" fmla="*/ 109261 h 420659"/>
                <a:gd name="connsiteX403" fmla="*/ 1228001 w 3817880"/>
                <a:gd name="connsiteY403" fmla="*/ 127365 h 420659"/>
                <a:gd name="connsiteX404" fmla="*/ 1242911 w 3817880"/>
                <a:gd name="connsiteY404" fmla="*/ 176886 h 420659"/>
                <a:gd name="connsiteX405" fmla="*/ 1242911 w 3817880"/>
                <a:gd name="connsiteY405" fmla="*/ 299356 h 420659"/>
                <a:gd name="connsiteX406" fmla="*/ 1250898 w 3817880"/>
                <a:gd name="connsiteY406" fmla="*/ 307343 h 420659"/>
                <a:gd name="connsiteX407" fmla="*/ 1273262 w 3817880"/>
                <a:gd name="connsiteY407" fmla="*/ 309473 h 420659"/>
                <a:gd name="connsiteX408" fmla="*/ 1273262 w 3817880"/>
                <a:gd name="connsiteY408" fmla="*/ 325448 h 420659"/>
                <a:gd name="connsiteX409" fmla="*/ 1178480 w 3817880"/>
                <a:gd name="connsiteY409" fmla="*/ 325448 h 420659"/>
                <a:gd name="connsiteX410" fmla="*/ 1178480 w 3817880"/>
                <a:gd name="connsiteY410" fmla="*/ 309473 h 420659"/>
                <a:gd name="connsiteX411" fmla="*/ 1198715 w 3817880"/>
                <a:gd name="connsiteY411" fmla="*/ 307343 h 420659"/>
                <a:gd name="connsiteX412" fmla="*/ 1205637 w 3817880"/>
                <a:gd name="connsiteY412" fmla="*/ 299356 h 420659"/>
                <a:gd name="connsiteX413" fmla="*/ 1205637 w 3817880"/>
                <a:gd name="connsiteY413" fmla="*/ 183276 h 420659"/>
                <a:gd name="connsiteX414" fmla="*/ 1195520 w 3817880"/>
                <a:gd name="connsiteY414" fmla="*/ 148132 h 420659"/>
                <a:gd name="connsiteX415" fmla="*/ 1161974 w 3817880"/>
                <a:gd name="connsiteY415" fmla="*/ 138015 h 420659"/>
                <a:gd name="connsiteX416" fmla="*/ 1139610 w 3817880"/>
                <a:gd name="connsiteY416" fmla="*/ 141210 h 420659"/>
                <a:gd name="connsiteX417" fmla="*/ 1113518 w 3817880"/>
                <a:gd name="connsiteY417" fmla="*/ 152392 h 420659"/>
                <a:gd name="connsiteX418" fmla="*/ 1113518 w 3817880"/>
                <a:gd name="connsiteY418" fmla="*/ 298824 h 420659"/>
                <a:gd name="connsiteX419" fmla="*/ 1121505 w 3817880"/>
                <a:gd name="connsiteY419" fmla="*/ 306811 h 420659"/>
                <a:gd name="connsiteX420" fmla="*/ 1141740 w 3817880"/>
                <a:gd name="connsiteY420" fmla="*/ 308941 h 420659"/>
                <a:gd name="connsiteX421" fmla="*/ 1141740 w 3817880"/>
                <a:gd name="connsiteY421" fmla="*/ 324915 h 420659"/>
                <a:gd name="connsiteX422" fmla="*/ 1045893 w 3817880"/>
                <a:gd name="connsiteY422" fmla="*/ 324915 h 420659"/>
                <a:gd name="connsiteX423" fmla="*/ 1045893 w 3817880"/>
                <a:gd name="connsiteY423" fmla="*/ 308941 h 420659"/>
                <a:gd name="connsiteX424" fmla="*/ 1069322 w 3817880"/>
                <a:gd name="connsiteY424" fmla="*/ 306811 h 420659"/>
                <a:gd name="connsiteX425" fmla="*/ 1076245 w 3817880"/>
                <a:gd name="connsiteY425" fmla="*/ 298824 h 420659"/>
                <a:gd name="connsiteX426" fmla="*/ 1076245 w 3817880"/>
                <a:gd name="connsiteY426" fmla="*/ 31519 h 420659"/>
                <a:gd name="connsiteX427" fmla="*/ 1042698 w 3817880"/>
                <a:gd name="connsiteY427" fmla="*/ 31519 h 420659"/>
                <a:gd name="connsiteX428" fmla="*/ 1042698 w 3817880"/>
                <a:gd name="connsiteY428" fmla="*/ 18207 h 420659"/>
                <a:gd name="connsiteX429" fmla="*/ 1096479 w 3817880"/>
                <a:gd name="connsiteY429" fmla="*/ 2233 h 420659"/>
                <a:gd name="connsiteX430" fmla="*/ 913306 w 3817880"/>
                <a:gd name="connsiteY430" fmla="*/ 110326 h 420659"/>
                <a:gd name="connsiteX431" fmla="*/ 913306 w 3817880"/>
                <a:gd name="connsiteY431" fmla="*/ 127365 h 420659"/>
                <a:gd name="connsiteX432" fmla="*/ 881889 w 3817880"/>
                <a:gd name="connsiteY432" fmla="*/ 141742 h 420659"/>
                <a:gd name="connsiteX433" fmla="*/ 870707 w 3817880"/>
                <a:gd name="connsiteY433" fmla="*/ 181146 h 420659"/>
                <a:gd name="connsiteX434" fmla="*/ 882954 w 3817880"/>
                <a:gd name="connsiteY434" fmla="*/ 219484 h 420659"/>
                <a:gd name="connsiteX435" fmla="*/ 913306 w 3817880"/>
                <a:gd name="connsiteY435" fmla="*/ 234394 h 420659"/>
                <a:gd name="connsiteX436" fmla="*/ 913306 w 3817880"/>
                <a:gd name="connsiteY436" fmla="*/ 252498 h 420659"/>
                <a:gd name="connsiteX437" fmla="*/ 910111 w 3817880"/>
                <a:gd name="connsiteY437" fmla="*/ 252498 h 420659"/>
                <a:gd name="connsiteX438" fmla="*/ 903189 w 3817880"/>
                <a:gd name="connsiteY438" fmla="*/ 252498 h 420659"/>
                <a:gd name="connsiteX439" fmla="*/ 898929 w 3817880"/>
                <a:gd name="connsiteY439" fmla="*/ 261550 h 420659"/>
                <a:gd name="connsiteX440" fmla="*/ 897864 w 3817880"/>
                <a:gd name="connsiteY440" fmla="*/ 271667 h 420659"/>
                <a:gd name="connsiteX441" fmla="*/ 898929 w 3817880"/>
                <a:gd name="connsiteY441" fmla="*/ 278590 h 420659"/>
                <a:gd name="connsiteX442" fmla="*/ 898929 w 3817880"/>
                <a:gd name="connsiteY442" fmla="*/ 281784 h 420659"/>
                <a:gd name="connsiteX443" fmla="*/ 913838 w 3817880"/>
                <a:gd name="connsiteY443" fmla="*/ 283914 h 420659"/>
                <a:gd name="connsiteX444" fmla="*/ 913838 w 3817880"/>
                <a:gd name="connsiteY444" fmla="*/ 315331 h 420659"/>
                <a:gd name="connsiteX445" fmla="*/ 896799 w 3817880"/>
                <a:gd name="connsiteY445" fmla="*/ 312136 h 420659"/>
                <a:gd name="connsiteX446" fmla="*/ 868577 w 3817880"/>
                <a:gd name="connsiteY446" fmla="*/ 329175 h 420659"/>
                <a:gd name="connsiteX447" fmla="*/ 858460 w 3817880"/>
                <a:gd name="connsiteY447" fmla="*/ 355267 h 420659"/>
                <a:gd name="connsiteX448" fmla="*/ 875500 w 3817880"/>
                <a:gd name="connsiteY448" fmla="*/ 387748 h 420659"/>
                <a:gd name="connsiteX449" fmla="*/ 913838 w 3817880"/>
                <a:gd name="connsiteY449" fmla="*/ 401060 h 420659"/>
                <a:gd name="connsiteX450" fmla="*/ 913838 w 3817880"/>
                <a:gd name="connsiteY450" fmla="*/ 420229 h 420659"/>
                <a:gd name="connsiteX451" fmla="*/ 902656 w 3817880"/>
                <a:gd name="connsiteY451" fmla="*/ 420229 h 420659"/>
                <a:gd name="connsiteX452" fmla="*/ 845148 w 3817880"/>
                <a:gd name="connsiteY452" fmla="*/ 405852 h 420659"/>
                <a:gd name="connsiteX453" fmla="*/ 823849 w 3817880"/>
                <a:gd name="connsiteY453" fmla="*/ 364319 h 420659"/>
                <a:gd name="connsiteX454" fmla="*/ 836096 w 3817880"/>
                <a:gd name="connsiteY454" fmla="*/ 329175 h 420659"/>
                <a:gd name="connsiteX455" fmla="*/ 871240 w 3817880"/>
                <a:gd name="connsiteY455" fmla="*/ 310006 h 420659"/>
                <a:gd name="connsiteX456" fmla="*/ 868045 w 3817880"/>
                <a:gd name="connsiteY456" fmla="*/ 299889 h 420659"/>
                <a:gd name="connsiteX457" fmla="*/ 866980 w 3817880"/>
                <a:gd name="connsiteY457" fmla="*/ 289772 h 420659"/>
                <a:gd name="connsiteX458" fmla="*/ 872837 w 3817880"/>
                <a:gd name="connsiteY458" fmla="*/ 271667 h 420659"/>
                <a:gd name="connsiteX459" fmla="*/ 888812 w 3817880"/>
                <a:gd name="connsiteY459" fmla="*/ 249303 h 420659"/>
                <a:gd name="connsiteX460" fmla="*/ 848343 w 3817880"/>
                <a:gd name="connsiteY460" fmla="*/ 225874 h 420659"/>
                <a:gd name="connsiteX461" fmla="*/ 833966 w 3817880"/>
                <a:gd name="connsiteY461" fmla="*/ 183276 h 420659"/>
                <a:gd name="connsiteX462" fmla="*/ 857395 w 3817880"/>
                <a:gd name="connsiteY462" fmla="*/ 130560 h 420659"/>
                <a:gd name="connsiteX463" fmla="*/ 913306 w 3817880"/>
                <a:gd name="connsiteY463" fmla="*/ 110326 h 420659"/>
                <a:gd name="connsiteX464" fmla="*/ 913306 w 3817880"/>
                <a:gd name="connsiteY464" fmla="*/ 110326 h 420659"/>
                <a:gd name="connsiteX465" fmla="*/ 569856 w 3817880"/>
                <a:gd name="connsiteY465" fmla="*/ 325448 h 420659"/>
                <a:gd name="connsiteX466" fmla="*/ 569856 w 3817880"/>
                <a:gd name="connsiteY466" fmla="*/ 309473 h 420659"/>
                <a:gd name="connsiteX467" fmla="*/ 593285 w 3817880"/>
                <a:gd name="connsiteY467" fmla="*/ 307343 h 420659"/>
                <a:gd name="connsiteX468" fmla="*/ 601272 w 3817880"/>
                <a:gd name="connsiteY468" fmla="*/ 299356 h 420659"/>
                <a:gd name="connsiteX469" fmla="*/ 601272 w 3817880"/>
                <a:gd name="connsiteY469" fmla="*/ 141742 h 420659"/>
                <a:gd name="connsiteX470" fmla="*/ 569856 w 3817880"/>
                <a:gd name="connsiteY470" fmla="*/ 141742 h 420659"/>
                <a:gd name="connsiteX471" fmla="*/ 569856 w 3817880"/>
                <a:gd name="connsiteY471" fmla="*/ 127365 h 420659"/>
                <a:gd name="connsiteX472" fmla="*/ 620442 w 3817880"/>
                <a:gd name="connsiteY472" fmla="*/ 112456 h 420659"/>
                <a:gd name="connsiteX473" fmla="*/ 637481 w 3817880"/>
                <a:gd name="connsiteY473" fmla="*/ 112456 h 420659"/>
                <a:gd name="connsiteX474" fmla="*/ 637481 w 3817880"/>
                <a:gd name="connsiteY474" fmla="*/ 135885 h 420659"/>
                <a:gd name="connsiteX475" fmla="*/ 680079 w 3817880"/>
                <a:gd name="connsiteY475" fmla="*/ 115651 h 420659"/>
                <a:gd name="connsiteX476" fmla="*/ 708301 w 3817880"/>
                <a:gd name="connsiteY476" fmla="*/ 108729 h 420659"/>
                <a:gd name="connsiteX477" fmla="*/ 751964 w 3817880"/>
                <a:gd name="connsiteY477" fmla="*/ 126833 h 420659"/>
                <a:gd name="connsiteX478" fmla="*/ 766341 w 3817880"/>
                <a:gd name="connsiteY478" fmla="*/ 176354 h 420659"/>
                <a:gd name="connsiteX479" fmla="*/ 766341 w 3817880"/>
                <a:gd name="connsiteY479" fmla="*/ 298824 h 420659"/>
                <a:gd name="connsiteX480" fmla="*/ 774328 w 3817880"/>
                <a:gd name="connsiteY480" fmla="*/ 306811 h 420659"/>
                <a:gd name="connsiteX481" fmla="*/ 797757 w 3817880"/>
                <a:gd name="connsiteY481" fmla="*/ 308941 h 420659"/>
                <a:gd name="connsiteX482" fmla="*/ 797757 w 3817880"/>
                <a:gd name="connsiteY482" fmla="*/ 324915 h 420659"/>
                <a:gd name="connsiteX483" fmla="*/ 700846 w 3817880"/>
                <a:gd name="connsiteY483" fmla="*/ 324915 h 420659"/>
                <a:gd name="connsiteX484" fmla="*/ 700846 w 3817880"/>
                <a:gd name="connsiteY484" fmla="*/ 308941 h 420659"/>
                <a:gd name="connsiteX485" fmla="*/ 722145 w 3817880"/>
                <a:gd name="connsiteY485" fmla="*/ 306811 h 420659"/>
                <a:gd name="connsiteX486" fmla="*/ 730133 w 3817880"/>
                <a:gd name="connsiteY486" fmla="*/ 298824 h 420659"/>
                <a:gd name="connsiteX487" fmla="*/ 730133 w 3817880"/>
                <a:gd name="connsiteY487" fmla="*/ 182743 h 420659"/>
                <a:gd name="connsiteX488" fmla="*/ 720015 w 3817880"/>
                <a:gd name="connsiteY488" fmla="*/ 147599 h 420659"/>
                <a:gd name="connsiteX489" fmla="*/ 684872 w 3817880"/>
                <a:gd name="connsiteY489" fmla="*/ 137482 h 420659"/>
                <a:gd name="connsiteX490" fmla="*/ 662508 w 3817880"/>
                <a:gd name="connsiteY490" fmla="*/ 140677 h 420659"/>
                <a:gd name="connsiteX491" fmla="*/ 636416 w 3817880"/>
                <a:gd name="connsiteY491" fmla="*/ 151859 h 420659"/>
                <a:gd name="connsiteX492" fmla="*/ 636416 w 3817880"/>
                <a:gd name="connsiteY492" fmla="*/ 298291 h 420659"/>
                <a:gd name="connsiteX493" fmla="*/ 644403 w 3817880"/>
                <a:gd name="connsiteY493" fmla="*/ 306279 h 420659"/>
                <a:gd name="connsiteX494" fmla="*/ 664637 w 3817880"/>
                <a:gd name="connsiteY494" fmla="*/ 308408 h 420659"/>
                <a:gd name="connsiteX495" fmla="*/ 664637 w 3817880"/>
                <a:gd name="connsiteY495" fmla="*/ 324383 h 420659"/>
                <a:gd name="connsiteX496" fmla="*/ 569856 w 3817880"/>
                <a:gd name="connsiteY496" fmla="*/ 324383 h 420659"/>
                <a:gd name="connsiteX497" fmla="*/ 569856 w 3817880"/>
                <a:gd name="connsiteY497" fmla="*/ 325448 h 420659"/>
                <a:gd name="connsiteX498" fmla="*/ 501166 w 3817880"/>
                <a:gd name="connsiteY498" fmla="*/ 15012 h 420659"/>
                <a:gd name="connsiteX499" fmla="*/ 519270 w 3817880"/>
                <a:gd name="connsiteY499" fmla="*/ 22999 h 420659"/>
                <a:gd name="connsiteX500" fmla="*/ 527258 w 3817880"/>
                <a:gd name="connsiteY500" fmla="*/ 41104 h 420659"/>
                <a:gd name="connsiteX501" fmla="*/ 519270 w 3817880"/>
                <a:gd name="connsiteY501" fmla="*/ 58143 h 420659"/>
                <a:gd name="connsiteX502" fmla="*/ 501166 w 3817880"/>
                <a:gd name="connsiteY502" fmla="*/ 66130 h 420659"/>
                <a:gd name="connsiteX503" fmla="*/ 484127 w 3817880"/>
                <a:gd name="connsiteY503" fmla="*/ 58143 h 420659"/>
                <a:gd name="connsiteX504" fmla="*/ 476140 w 3817880"/>
                <a:gd name="connsiteY504" fmla="*/ 41104 h 420659"/>
                <a:gd name="connsiteX505" fmla="*/ 484127 w 3817880"/>
                <a:gd name="connsiteY505" fmla="*/ 22999 h 420659"/>
                <a:gd name="connsiteX506" fmla="*/ 501166 w 3817880"/>
                <a:gd name="connsiteY506" fmla="*/ 15012 h 420659"/>
                <a:gd name="connsiteX507" fmla="*/ 501166 w 3817880"/>
                <a:gd name="connsiteY507" fmla="*/ 15012 h 420659"/>
                <a:gd name="connsiteX508" fmla="*/ 500101 w 3817880"/>
                <a:gd name="connsiteY508" fmla="*/ 112988 h 420659"/>
                <a:gd name="connsiteX509" fmla="*/ 517141 w 3817880"/>
                <a:gd name="connsiteY509" fmla="*/ 112988 h 420659"/>
                <a:gd name="connsiteX510" fmla="*/ 517141 w 3817880"/>
                <a:gd name="connsiteY510" fmla="*/ 299889 h 420659"/>
                <a:gd name="connsiteX511" fmla="*/ 525128 w 3817880"/>
                <a:gd name="connsiteY511" fmla="*/ 307876 h 420659"/>
                <a:gd name="connsiteX512" fmla="*/ 547492 w 3817880"/>
                <a:gd name="connsiteY512" fmla="*/ 310006 h 420659"/>
                <a:gd name="connsiteX513" fmla="*/ 547492 w 3817880"/>
                <a:gd name="connsiteY513" fmla="*/ 325980 h 420659"/>
                <a:gd name="connsiteX514" fmla="*/ 449516 w 3817880"/>
                <a:gd name="connsiteY514" fmla="*/ 325980 h 420659"/>
                <a:gd name="connsiteX515" fmla="*/ 449516 w 3817880"/>
                <a:gd name="connsiteY515" fmla="*/ 310006 h 420659"/>
                <a:gd name="connsiteX516" fmla="*/ 472945 w 3817880"/>
                <a:gd name="connsiteY516" fmla="*/ 307876 h 420659"/>
                <a:gd name="connsiteX517" fmla="*/ 479867 w 3817880"/>
                <a:gd name="connsiteY517" fmla="*/ 299889 h 420659"/>
                <a:gd name="connsiteX518" fmla="*/ 479867 w 3817880"/>
                <a:gd name="connsiteY518" fmla="*/ 142275 h 420659"/>
                <a:gd name="connsiteX519" fmla="*/ 449516 w 3817880"/>
                <a:gd name="connsiteY519" fmla="*/ 142275 h 420659"/>
                <a:gd name="connsiteX520" fmla="*/ 449516 w 3817880"/>
                <a:gd name="connsiteY520" fmla="*/ 127365 h 420659"/>
                <a:gd name="connsiteX521" fmla="*/ 500101 w 3817880"/>
                <a:gd name="connsiteY521" fmla="*/ 112988 h 420659"/>
                <a:gd name="connsiteX522" fmla="*/ 500101 w 3817880"/>
                <a:gd name="connsiteY522" fmla="*/ 112988 h 420659"/>
                <a:gd name="connsiteX523" fmla="*/ 410112 w 3817880"/>
                <a:gd name="connsiteY523" fmla="*/ 119378 h 420659"/>
                <a:gd name="connsiteX524" fmla="*/ 410112 w 3817880"/>
                <a:gd name="connsiteY524" fmla="*/ 168899 h 420659"/>
                <a:gd name="connsiteX525" fmla="*/ 388813 w 3817880"/>
                <a:gd name="connsiteY525" fmla="*/ 168899 h 420659"/>
                <a:gd name="connsiteX526" fmla="*/ 384553 w 3817880"/>
                <a:gd name="connsiteY526" fmla="*/ 138547 h 420659"/>
                <a:gd name="connsiteX527" fmla="*/ 368579 w 3817880"/>
                <a:gd name="connsiteY527" fmla="*/ 130560 h 420659"/>
                <a:gd name="connsiteX528" fmla="*/ 352604 w 3817880"/>
                <a:gd name="connsiteY528" fmla="*/ 128430 h 420659"/>
                <a:gd name="connsiteX529" fmla="*/ 325448 w 3817880"/>
                <a:gd name="connsiteY529" fmla="*/ 137482 h 420659"/>
                <a:gd name="connsiteX530" fmla="*/ 315331 w 3817880"/>
                <a:gd name="connsiteY530" fmla="*/ 159847 h 420659"/>
                <a:gd name="connsiteX531" fmla="*/ 323318 w 3817880"/>
                <a:gd name="connsiteY531" fmla="*/ 181146 h 420659"/>
                <a:gd name="connsiteX532" fmla="*/ 352604 w 3817880"/>
                <a:gd name="connsiteY532" fmla="*/ 200315 h 420659"/>
                <a:gd name="connsiteX533" fmla="*/ 363786 w 3817880"/>
                <a:gd name="connsiteY533" fmla="*/ 204575 h 420659"/>
                <a:gd name="connsiteX534" fmla="*/ 399995 w 3817880"/>
                <a:gd name="connsiteY534" fmla="*/ 224809 h 420659"/>
                <a:gd name="connsiteX535" fmla="*/ 412242 w 3817880"/>
                <a:gd name="connsiteY535" fmla="*/ 241848 h 420659"/>
                <a:gd name="connsiteX536" fmla="*/ 415437 w 3817880"/>
                <a:gd name="connsiteY536" fmla="*/ 263148 h 420659"/>
                <a:gd name="connsiteX537" fmla="*/ 394138 w 3817880"/>
                <a:gd name="connsiteY537" fmla="*/ 311603 h 420659"/>
                <a:gd name="connsiteX538" fmla="*/ 334500 w 3817880"/>
                <a:gd name="connsiteY538" fmla="*/ 328643 h 420659"/>
                <a:gd name="connsiteX539" fmla="*/ 304149 w 3817880"/>
                <a:gd name="connsiteY539" fmla="*/ 326513 h 420659"/>
                <a:gd name="connsiteX540" fmla="*/ 276992 w 3817880"/>
                <a:gd name="connsiteY540" fmla="*/ 319591 h 420659"/>
                <a:gd name="connsiteX541" fmla="*/ 276992 w 3817880"/>
                <a:gd name="connsiteY541" fmla="*/ 262083 h 420659"/>
                <a:gd name="connsiteX542" fmla="*/ 298291 w 3817880"/>
                <a:gd name="connsiteY542" fmla="*/ 262083 h 420659"/>
                <a:gd name="connsiteX543" fmla="*/ 302551 w 3817880"/>
                <a:gd name="connsiteY543" fmla="*/ 299356 h 420659"/>
                <a:gd name="connsiteX544" fmla="*/ 321720 w 3817880"/>
                <a:gd name="connsiteY544" fmla="*/ 307343 h 420659"/>
                <a:gd name="connsiteX545" fmla="*/ 340890 w 3817880"/>
                <a:gd name="connsiteY545" fmla="*/ 310538 h 420659"/>
                <a:gd name="connsiteX546" fmla="*/ 370176 w 3817880"/>
                <a:gd name="connsiteY546" fmla="*/ 300421 h 420659"/>
                <a:gd name="connsiteX547" fmla="*/ 381358 w 3817880"/>
                <a:gd name="connsiteY547" fmla="*/ 274330 h 420659"/>
                <a:gd name="connsiteX548" fmla="*/ 373371 w 3817880"/>
                <a:gd name="connsiteY548" fmla="*/ 253031 h 420659"/>
                <a:gd name="connsiteX549" fmla="*/ 336097 w 3817880"/>
                <a:gd name="connsiteY549" fmla="*/ 230666 h 420659"/>
                <a:gd name="connsiteX550" fmla="*/ 292434 w 3817880"/>
                <a:gd name="connsiteY550" fmla="*/ 203510 h 420659"/>
                <a:gd name="connsiteX551" fmla="*/ 280187 w 3817880"/>
                <a:gd name="connsiteY551" fmla="*/ 171029 h 420659"/>
                <a:gd name="connsiteX552" fmla="*/ 300421 w 3817880"/>
                <a:gd name="connsiteY552" fmla="*/ 125768 h 420659"/>
                <a:gd name="connsiteX553" fmla="*/ 357929 w 3817880"/>
                <a:gd name="connsiteY553" fmla="*/ 108729 h 420659"/>
                <a:gd name="connsiteX554" fmla="*/ 386150 w 3817880"/>
                <a:gd name="connsiteY554" fmla="*/ 111923 h 420659"/>
                <a:gd name="connsiteX555" fmla="*/ 410112 w 3817880"/>
                <a:gd name="connsiteY555" fmla="*/ 119378 h 420659"/>
                <a:gd name="connsiteX556" fmla="*/ 410112 w 3817880"/>
                <a:gd name="connsiteY556" fmla="*/ 119378 h 420659"/>
                <a:gd name="connsiteX557" fmla="*/ 3297 w 3817880"/>
                <a:gd name="connsiteY557" fmla="*/ 31519 h 420659"/>
                <a:gd name="connsiteX558" fmla="*/ 250901 w 3817880"/>
                <a:gd name="connsiteY558" fmla="*/ 31519 h 420659"/>
                <a:gd name="connsiteX559" fmla="*/ 250901 w 3817880"/>
                <a:gd name="connsiteY559" fmla="*/ 98079 h 420659"/>
                <a:gd name="connsiteX560" fmla="*/ 227471 w 3817880"/>
                <a:gd name="connsiteY560" fmla="*/ 98079 h 420659"/>
                <a:gd name="connsiteX561" fmla="*/ 221614 w 3817880"/>
                <a:gd name="connsiteY561" fmla="*/ 57610 h 420659"/>
                <a:gd name="connsiteX562" fmla="*/ 214692 w 3817880"/>
                <a:gd name="connsiteY562" fmla="*/ 50688 h 420659"/>
                <a:gd name="connsiteX563" fmla="*/ 148132 w 3817880"/>
                <a:gd name="connsiteY563" fmla="*/ 50688 h 420659"/>
                <a:gd name="connsiteX564" fmla="*/ 148132 w 3817880"/>
                <a:gd name="connsiteY564" fmla="*/ 298291 h 420659"/>
                <a:gd name="connsiteX565" fmla="*/ 155054 w 3817880"/>
                <a:gd name="connsiteY565" fmla="*/ 305214 h 420659"/>
                <a:gd name="connsiteX566" fmla="*/ 184341 w 3817880"/>
                <a:gd name="connsiteY566" fmla="*/ 307343 h 420659"/>
                <a:gd name="connsiteX567" fmla="*/ 184341 w 3817880"/>
                <a:gd name="connsiteY567" fmla="*/ 325448 h 420659"/>
                <a:gd name="connsiteX568" fmla="*/ 70390 w 3817880"/>
                <a:gd name="connsiteY568" fmla="*/ 325448 h 420659"/>
                <a:gd name="connsiteX569" fmla="*/ 70390 w 3817880"/>
                <a:gd name="connsiteY569" fmla="*/ 307343 h 420659"/>
                <a:gd name="connsiteX570" fmla="*/ 99676 w 3817880"/>
                <a:gd name="connsiteY570" fmla="*/ 305214 h 420659"/>
                <a:gd name="connsiteX571" fmla="*/ 106598 w 3817880"/>
                <a:gd name="connsiteY571" fmla="*/ 298291 h 420659"/>
                <a:gd name="connsiteX572" fmla="*/ 106598 w 3817880"/>
                <a:gd name="connsiteY572" fmla="*/ 50688 h 420659"/>
                <a:gd name="connsiteX573" fmla="*/ 40039 w 3817880"/>
                <a:gd name="connsiteY573" fmla="*/ 50688 h 420659"/>
                <a:gd name="connsiteX574" fmla="*/ 33116 w 3817880"/>
                <a:gd name="connsiteY574" fmla="*/ 57610 h 420659"/>
                <a:gd name="connsiteX575" fmla="*/ 27259 w 3817880"/>
                <a:gd name="connsiteY575" fmla="*/ 98079 h 420659"/>
                <a:gd name="connsiteX576" fmla="*/ 2233 w 3817880"/>
                <a:gd name="connsiteY576" fmla="*/ 98079 h 420659"/>
                <a:gd name="connsiteX577" fmla="*/ 2233 w 3817880"/>
                <a:gd name="connsiteY577" fmla="*/ 31519 h 42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3817880" h="420659">
                  <a:moveTo>
                    <a:pt x="2873364" y="329175"/>
                  </a:moveTo>
                  <a:lnTo>
                    <a:pt x="2873364" y="302019"/>
                  </a:lnTo>
                  <a:cubicBezTo>
                    <a:pt x="2879221" y="303084"/>
                    <a:pt x="2885611" y="304149"/>
                    <a:pt x="2893598" y="304149"/>
                  </a:cubicBezTo>
                  <a:cubicBezTo>
                    <a:pt x="2903715" y="304149"/>
                    <a:pt x="2914898" y="302019"/>
                    <a:pt x="2926080" y="298291"/>
                  </a:cubicBezTo>
                  <a:cubicBezTo>
                    <a:pt x="2937262" y="294031"/>
                    <a:pt x="2949509" y="287109"/>
                    <a:pt x="2962288" y="278057"/>
                  </a:cubicBezTo>
                  <a:lnTo>
                    <a:pt x="2962288" y="303084"/>
                  </a:lnTo>
                  <a:cubicBezTo>
                    <a:pt x="2950041" y="312136"/>
                    <a:pt x="2936197" y="317993"/>
                    <a:pt x="2921820" y="322253"/>
                  </a:cubicBezTo>
                  <a:cubicBezTo>
                    <a:pt x="2908508" y="326513"/>
                    <a:pt x="2893598" y="329175"/>
                    <a:pt x="2880286" y="329175"/>
                  </a:cubicBezTo>
                  <a:cubicBezTo>
                    <a:pt x="2877624" y="329175"/>
                    <a:pt x="2875494" y="329175"/>
                    <a:pt x="2873364" y="329175"/>
                  </a:cubicBezTo>
                  <a:lnTo>
                    <a:pt x="2873364" y="329175"/>
                  </a:lnTo>
                  <a:close/>
                  <a:moveTo>
                    <a:pt x="2873364" y="209367"/>
                  </a:moveTo>
                  <a:lnTo>
                    <a:pt x="2873364" y="191263"/>
                  </a:lnTo>
                  <a:lnTo>
                    <a:pt x="2922885" y="191263"/>
                  </a:lnTo>
                  <a:lnTo>
                    <a:pt x="2922885" y="184341"/>
                  </a:lnTo>
                  <a:cubicBezTo>
                    <a:pt x="2922885" y="166236"/>
                    <a:pt x="2919690" y="152924"/>
                    <a:pt x="2911703" y="143872"/>
                  </a:cubicBezTo>
                  <a:cubicBezTo>
                    <a:pt x="2903715" y="133755"/>
                    <a:pt x="2892533" y="128963"/>
                    <a:pt x="2878156" y="128963"/>
                  </a:cubicBezTo>
                  <a:cubicBezTo>
                    <a:pt x="2876027" y="128963"/>
                    <a:pt x="2874962" y="128963"/>
                    <a:pt x="2873897" y="128963"/>
                  </a:cubicBezTo>
                  <a:lnTo>
                    <a:pt x="2873897" y="109794"/>
                  </a:lnTo>
                  <a:cubicBezTo>
                    <a:pt x="2877091" y="109794"/>
                    <a:pt x="2880819" y="108729"/>
                    <a:pt x="2884014" y="108729"/>
                  </a:cubicBezTo>
                  <a:cubicBezTo>
                    <a:pt x="2909040" y="108729"/>
                    <a:pt x="2927677" y="116716"/>
                    <a:pt x="2941522" y="132158"/>
                  </a:cubicBezTo>
                  <a:cubicBezTo>
                    <a:pt x="2956431" y="148132"/>
                    <a:pt x="2962821" y="169431"/>
                    <a:pt x="2962821" y="194990"/>
                  </a:cubicBezTo>
                  <a:cubicBezTo>
                    <a:pt x="2962821" y="198185"/>
                    <a:pt x="2962821" y="201912"/>
                    <a:pt x="2962821" y="202978"/>
                  </a:cubicBezTo>
                  <a:cubicBezTo>
                    <a:pt x="2962821" y="205107"/>
                    <a:pt x="2962821" y="207237"/>
                    <a:pt x="2962821" y="208835"/>
                  </a:cubicBezTo>
                  <a:lnTo>
                    <a:pt x="2873364" y="208835"/>
                  </a:lnTo>
                  <a:lnTo>
                    <a:pt x="2873364" y="209367"/>
                  </a:lnTo>
                  <a:close/>
                  <a:moveTo>
                    <a:pt x="2994770" y="325448"/>
                  </a:moveTo>
                  <a:lnTo>
                    <a:pt x="2994770" y="309473"/>
                  </a:lnTo>
                  <a:lnTo>
                    <a:pt x="3017134" y="307343"/>
                  </a:lnTo>
                  <a:lnTo>
                    <a:pt x="3025121" y="299356"/>
                  </a:lnTo>
                  <a:lnTo>
                    <a:pt x="3025121" y="141742"/>
                  </a:lnTo>
                  <a:lnTo>
                    <a:pt x="2994770" y="141742"/>
                  </a:lnTo>
                  <a:lnTo>
                    <a:pt x="2994770" y="127365"/>
                  </a:lnTo>
                  <a:lnTo>
                    <a:pt x="3045355" y="112456"/>
                  </a:lnTo>
                  <a:lnTo>
                    <a:pt x="3062395" y="112456"/>
                  </a:lnTo>
                  <a:lnTo>
                    <a:pt x="3062395" y="152924"/>
                  </a:lnTo>
                  <a:cubicBezTo>
                    <a:pt x="3069317" y="146002"/>
                    <a:pt x="3077304" y="138015"/>
                    <a:pt x="3083694" y="131625"/>
                  </a:cubicBezTo>
                  <a:cubicBezTo>
                    <a:pt x="3091681" y="124703"/>
                    <a:pt x="3100733" y="116716"/>
                    <a:pt x="3108720" y="110326"/>
                  </a:cubicBezTo>
                  <a:cubicBezTo>
                    <a:pt x="3109785" y="110326"/>
                    <a:pt x="3111915" y="110326"/>
                    <a:pt x="3112980" y="110326"/>
                  </a:cubicBezTo>
                  <a:cubicBezTo>
                    <a:pt x="3114045" y="110326"/>
                    <a:pt x="3116175" y="109261"/>
                    <a:pt x="3119902" y="109261"/>
                  </a:cubicBezTo>
                  <a:cubicBezTo>
                    <a:pt x="3124162" y="109261"/>
                    <a:pt x="3128955" y="110326"/>
                    <a:pt x="3132149" y="111391"/>
                  </a:cubicBezTo>
                  <a:cubicBezTo>
                    <a:pt x="3136409" y="112456"/>
                    <a:pt x="3141202" y="113521"/>
                    <a:pt x="3145461" y="115651"/>
                  </a:cubicBezTo>
                  <a:lnTo>
                    <a:pt x="3145461" y="152924"/>
                  </a:lnTo>
                  <a:lnTo>
                    <a:pt x="3132149" y="152924"/>
                  </a:lnTo>
                  <a:cubicBezTo>
                    <a:pt x="3128955" y="149730"/>
                    <a:pt x="3125227" y="147067"/>
                    <a:pt x="3122032" y="144937"/>
                  </a:cubicBezTo>
                  <a:cubicBezTo>
                    <a:pt x="3118837" y="143872"/>
                    <a:pt x="3114045" y="142807"/>
                    <a:pt x="3109785" y="142807"/>
                  </a:cubicBezTo>
                  <a:cubicBezTo>
                    <a:pt x="3102863" y="142807"/>
                    <a:pt x="3094876" y="144937"/>
                    <a:pt x="3087421" y="150794"/>
                  </a:cubicBezTo>
                  <a:cubicBezTo>
                    <a:pt x="3079434" y="155054"/>
                    <a:pt x="3071446" y="163042"/>
                    <a:pt x="3062395" y="174223"/>
                  </a:cubicBezTo>
                  <a:lnTo>
                    <a:pt x="3062395" y="299356"/>
                  </a:lnTo>
                  <a:lnTo>
                    <a:pt x="3069317" y="307343"/>
                  </a:lnTo>
                  <a:lnTo>
                    <a:pt x="3099668" y="309473"/>
                  </a:lnTo>
                  <a:lnTo>
                    <a:pt x="3099668" y="325448"/>
                  </a:lnTo>
                  <a:lnTo>
                    <a:pt x="2994770" y="325448"/>
                  </a:lnTo>
                  <a:lnTo>
                    <a:pt x="2994770" y="325448"/>
                  </a:lnTo>
                  <a:close/>
                  <a:moveTo>
                    <a:pt x="3299880" y="119378"/>
                  </a:moveTo>
                  <a:lnTo>
                    <a:pt x="3299880" y="168899"/>
                  </a:lnTo>
                  <a:lnTo>
                    <a:pt x="3277516" y="168899"/>
                  </a:lnTo>
                  <a:lnTo>
                    <a:pt x="3274322" y="138547"/>
                  </a:lnTo>
                  <a:cubicBezTo>
                    <a:pt x="3268464" y="135353"/>
                    <a:pt x="3263139" y="132690"/>
                    <a:pt x="3257282" y="130560"/>
                  </a:cubicBezTo>
                  <a:cubicBezTo>
                    <a:pt x="3253022" y="129495"/>
                    <a:pt x="3247165" y="128430"/>
                    <a:pt x="3241308" y="128430"/>
                  </a:cubicBezTo>
                  <a:cubicBezTo>
                    <a:pt x="3230126" y="128430"/>
                    <a:pt x="3221074" y="131625"/>
                    <a:pt x="3215216" y="137482"/>
                  </a:cubicBezTo>
                  <a:cubicBezTo>
                    <a:pt x="3208294" y="143340"/>
                    <a:pt x="3205099" y="149730"/>
                    <a:pt x="3205099" y="159847"/>
                  </a:cubicBezTo>
                  <a:cubicBezTo>
                    <a:pt x="3205099" y="168899"/>
                    <a:pt x="3207229" y="175821"/>
                    <a:pt x="3213086" y="181146"/>
                  </a:cubicBezTo>
                  <a:cubicBezTo>
                    <a:pt x="3218943" y="187003"/>
                    <a:pt x="3227463" y="192328"/>
                    <a:pt x="3242373" y="200315"/>
                  </a:cubicBezTo>
                  <a:cubicBezTo>
                    <a:pt x="3244502" y="201380"/>
                    <a:pt x="3248230" y="202445"/>
                    <a:pt x="3253555" y="204575"/>
                  </a:cubicBezTo>
                  <a:cubicBezTo>
                    <a:pt x="3269529" y="212562"/>
                    <a:pt x="3281776" y="218952"/>
                    <a:pt x="3288699" y="224809"/>
                  </a:cubicBezTo>
                  <a:cubicBezTo>
                    <a:pt x="3294556" y="229069"/>
                    <a:pt x="3298815" y="234926"/>
                    <a:pt x="3300946" y="241848"/>
                  </a:cubicBezTo>
                  <a:cubicBezTo>
                    <a:pt x="3304140" y="247706"/>
                    <a:pt x="3305205" y="255160"/>
                    <a:pt x="3305205" y="263148"/>
                  </a:cubicBezTo>
                  <a:cubicBezTo>
                    <a:pt x="3305205" y="283382"/>
                    <a:pt x="3298283" y="299356"/>
                    <a:pt x="3283906" y="311603"/>
                  </a:cubicBezTo>
                  <a:cubicBezTo>
                    <a:pt x="3269529" y="322785"/>
                    <a:pt x="3248763" y="328643"/>
                    <a:pt x="3223203" y="328643"/>
                  </a:cubicBezTo>
                  <a:cubicBezTo>
                    <a:pt x="3213086" y="328643"/>
                    <a:pt x="3202969" y="327578"/>
                    <a:pt x="3193917" y="326513"/>
                  </a:cubicBezTo>
                  <a:cubicBezTo>
                    <a:pt x="3183800" y="325448"/>
                    <a:pt x="3174748" y="323318"/>
                    <a:pt x="3166761" y="319591"/>
                  </a:cubicBezTo>
                  <a:lnTo>
                    <a:pt x="3166761" y="262083"/>
                  </a:lnTo>
                  <a:lnTo>
                    <a:pt x="3188060" y="262083"/>
                  </a:lnTo>
                  <a:lnTo>
                    <a:pt x="3192319" y="299356"/>
                  </a:lnTo>
                  <a:cubicBezTo>
                    <a:pt x="3199242" y="303616"/>
                    <a:pt x="3204566" y="306279"/>
                    <a:pt x="3211489" y="307343"/>
                  </a:cubicBezTo>
                  <a:cubicBezTo>
                    <a:pt x="3217346" y="309473"/>
                    <a:pt x="3223736" y="310538"/>
                    <a:pt x="3229593" y="310538"/>
                  </a:cubicBezTo>
                  <a:cubicBezTo>
                    <a:pt x="3241840" y="310538"/>
                    <a:pt x="3251957" y="307343"/>
                    <a:pt x="3259944" y="300421"/>
                  </a:cubicBezTo>
                  <a:cubicBezTo>
                    <a:pt x="3267932" y="293499"/>
                    <a:pt x="3271126" y="285512"/>
                    <a:pt x="3271126" y="274330"/>
                  </a:cubicBezTo>
                  <a:cubicBezTo>
                    <a:pt x="3271126" y="265278"/>
                    <a:pt x="3268997" y="258355"/>
                    <a:pt x="3263139" y="253031"/>
                  </a:cubicBezTo>
                  <a:cubicBezTo>
                    <a:pt x="3257282" y="247173"/>
                    <a:pt x="3246100" y="239719"/>
                    <a:pt x="3225866" y="230666"/>
                  </a:cubicBezTo>
                  <a:cubicBezTo>
                    <a:pt x="3204566" y="221614"/>
                    <a:pt x="3189657" y="211497"/>
                    <a:pt x="3182203" y="203510"/>
                  </a:cubicBezTo>
                  <a:cubicBezTo>
                    <a:pt x="3173150" y="194458"/>
                    <a:pt x="3169955" y="183276"/>
                    <a:pt x="3169955" y="171029"/>
                  </a:cubicBezTo>
                  <a:cubicBezTo>
                    <a:pt x="3169955" y="151859"/>
                    <a:pt x="3176878" y="135885"/>
                    <a:pt x="3190190" y="125768"/>
                  </a:cubicBezTo>
                  <a:cubicBezTo>
                    <a:pt x="3203502" y="114586"/>
                    <a:pt x="3222671" y="108729"/>
                    <a:pt x="3247698" y="108729"/>
                  </a:cubicBezTo>
                  <a:cubicBezTo>
                    <a:pt x="3257814" y="108729"/>
                    <a:pt x="3266867" y="109794"/>
                    <a:pt x="3274854" y="111923"/>
                  </a:cubicBezTo>
                  <a:cubicBezTo>
                    <a:pt x="3283906" y="114053"/>
                    <a:pt x="3291893" y="116183"/>
                    <a:pt x="3299880" y="119378"/>
                  </a:cubicBezTo>
                  <a:lnTo>
                    <a:pt x="3299880" y="119378"/>
                  </a:lnTo>
                  <a:close/>
                  <a:moveTo>
                    <a:pt x="3389870" y="112988"/>
                  </a:moveTo>
                  <a:lnTo>
                    <a:pt x="3406909" y="112988"/>
                  </a:lnTo>
                  <a:lnTo>
                    <a:pt x="3406909" y="299889"/>
                  </a:lnTo>
                  <a:lnTo>
                    <a:pt x="3413831" y="307876"/>
                  </a:lnTo>
                  <a:lnTo>
                    <a:pt x="3437261" y="310006"/>
                  </a:lnTo>
                  <a:lnTo>
                    <a:pt x="3437261" y="325980"/>
                  </a:lnTo>
                  <a:lnTo>
                    <a:pt x="3339284" y="325980"/>
                  </a:lnTo>
                  <a:lnTo>
                    <a:pt x="3339284" y="310006"/>
                  </a:lnTo>
                  <a:lnTo>
                    <a:pt x="3361648" y="307876"/>
                  </a:lnTo>
                  <a:lnTo>
                    <a:pt x="3369635" y="299889"/>
                  </a:lnTo>
                  <a:lnTo>
                    <a:pt x="3369635" y="142275"/>
                  </a:lnTo>
                  <a:lnTo>
                    <a:pt x="3339284" y="142275"/>
                  </a:lnTo>
                  <a:lnTo>
                    <a:pt x="3339284" y="127365"/>
                  </a:lnTo>
                  <a:lnTo>
                    <a:pt x="3389870" y="112988"/>
                  </a:lnTo>
                  <a:lnTo>
                    <a:pt x="3389870" y="112988"/>
                  </a:lnTo>
                  <a:close/>
                  <a:moveTo>
                    <a:pt x="3390934" y="15012"/>
                  </a:moveTo>
                  <a:cubicBezTo>
                    <a:pt x="3398922" y="15012"/>
                    <a:pt x="3404246" y="17142"/>
                    <a:pt x="3409039" y="22999"/>
                  </a:cubicBezTo>
                  <a:cubicBezTo>
                    <a:pt x="3414896" y="27259"/>
                    <a:pt x="3417026" y="33116"/>
                    <a:pt x="3417026" y="41104"/>
                  </a:cubicBezTo>
                  <a:cubicBezTo>
                    <a:pt x="3417026" y="48026"/>
                    <a:pt x="3414896" y="53351"/>
                    <a:pt x="3409039" y="58143"/>
                  </a:cubicBezTo>
                  <a:cubicBezTo>
                    <a:pt x="3404779" y="64000"/>
                    <a:pt x="3398922" y="66130"/>
                    <a:pt x="3390934" y="66130"/>
                  </a:cubicBezTo>
                  <a:cubicBezTo>
                    <a:pt x="3384013" y="66130"/>
                    <a:pt x="3378688" y="64000"/>
                    <a:pt x="3372830" y="58143"/>
                  </a:cubicBezTo>
                  <a:cubicBezTo>
                    <a:pt x="3368571" y="53883"/>
                    <a:pt x="3365908" y="48026"/>
                    <a:pt x="3365908" y="41104"/>
                  </a:cubicBezTo>
                  <a:cubicBezTo>
                    <a:pt x="3365908" y="33116"/>
                    <a:pt x="3368038" y="27792"/>
                    <a:pt x="3372830" y="22999"/>
                  </a:cubicBezTo>
                  <a:cubicBezTo>
                    <a:pt x="3378688" y="17142"/>
                    <a:pt x="3384545" y="15012"/>
                    <a:pt x="3390934" y="15012"/>
                  </a:cubicBezTo>
                  <a:lnTo>
                    <a:pt x="3390934" y="15012"/>
                  </a:lnTo>
                  <a:close/>
                  <a:moveTo>
                    <a:pt x="3484651" y="140677"/>
                  </a:moveTo>
                  <a:lnTo>
                    <a:pt x="3457494" y="140677"/>
                  </a:lnTo>
                  <a:lnTo>
                    <a:pt x="3457494" y="127365"/>
                  </a:lnTo>
                  <a:lnTo>
                    <a:pt x="3485716" y="114053"/>
                  </a:lnTo>
                  <a:lnTo>
                    <a:pt x="3504885" y="73585"/>
                  </a:lnTo>
                  <a:lnTo>
                    <a:pt x="3521924" y="73585"/>
                  </a:lnTo>
                  <a:lnTo>
                    <a:pt x="3521924" y="120975"/>
                  </a:lnTo>
                  <a:lnTo>
                    <a:pt x="3588484" y="120975"/>
                  </a:lnTo>
                  <a:lnTo>
                    <a:pt x="3588484" y="141210"/>
                  </a:lnTo>
                  <a:lnTo>
                    <a:pt x="3521924" y="141210"/>
                  </a:lnTo>
                  <a:lnTo>
                    <a:pt x="3521924" y="256225"/>
                  </a:lnTo>
                  <a:cubicBezTo>
                    <a:pt x="3521924" y="275395"/>
                    <a:pt x="3524054" y="288707"/>
                    <a:pt x="3529912" y="294564"/>
                  </a:cubicBezTo>
                  <a:cubicBezTo>
                    <a:pt x="3534172" y="301486"/>
                    <a:pt x="3544821" y="304681"/>
                    <a:pt x="3558133" y="304681"/>
                  </a:cubicBezTo>
                  <a:cubicBezTo>
                    <a:pt x="3562393" y="304681"/>
                    <a:pt x="3567185" y="304681"/>
                    <a:pt x="3573043" y="303616"/>
                  </a:cubicBezTo>
                  <a:cubicBezTo>
                    <a:pt x="3577302" y="303616"/>
                    <a:pt x="3583160" y="302551"/>
                    <a:pt x="3589017" y="301486"/>
                  </a:cubicBezTo>
                  <a:lnTo>
                    <a:pt x="3589017" y="317461"/>
                  </a:lnTo>
                  <a:cubicBezTo>
                    <a:pt x="3578900" y="320655"/>
                    <a:pt x="3568783" y="323318"/>
                    <a:pt x="3559731" y="325448"/>
                  </a:cubicBezTo>
                  <a:cubicBezTo>
                    <a:pt x="3549614" y="326513"/>
                    <a:pt x="3540561" y="327578"/>
                    <a:pt x="3531509" y="327578"/>
                  </a:cubicBezTo>
                  <a:cubicBezTo>
                    <a:pt x="3514470" y="327578"/>
                    <a:pt x="3502223" y="324383"/>
                    <a:pt x="3495300" y="317461"/>
                  </a:cubicBezTo>
                  <a:cubicBezTo>
                    <a:pt x="3488378" y="311603"/>
                    <a:pt x="3485184" y="299356"/>
                    <a:pt x="3485184" y="282317"/>
                  </a:cubicBezTo>
                  <a:lnTo>
                    <a:pt x="3485184" y="140677"/>
                  </a:lnTo>
                  <a:lnTo>
                    <a:pt x="3484651" y="140677"/>
                  </a:lnTo>
                  <a:close/>
                  <a:moveTo>
                    <a:pt x="3592744" y="114053"/>
                  </a:moveTo>
                  <a:lnTo>
                    <a:pt x="3687526" y="114053"/>
                  </a:lnTo>
                  <a:lnTo>
                    <a:pt x="3687526" y="131093"/>
                  </a:lnTo>
                  <a:lnTo>
                    <a:pt x="3665162" y="132158"/>
                  </a:lnTo>
                  <a:lnTo>
                    <a:pt x="3659304" y="140145"/>
                  </a:lnTo>
                  <a:lnTo>
                    <a:pt x="3712020" y="276460"/>
                  </a:lnTo>
                  <a:lnTo>
                    <a:pt x="3765800" y="140145"/>
                  </a:lnTo>
                  <a:lnTo>
                    <a:pt x="3762606" y="132158"/>
                  </a:lnTo>
                  <a:lnTo>
                    <a:pt x="3739176" y="131093"/>
                  </a:lnTo>
                  <a:lnTo>
                    <a:pt x="3739176" y="114053"/>
                  </a:lnTo>
                  <a:lnTo>
                    <a:pt x="3817984" y="114053"/>
                  </a:lnTo>
                  <a:lnTo>
                    <a:pt x="3817984" y="131093"/>
                  </a:lnTo>
                  <a:lnTo>
                    <a:pt x="3791892" y="134287"/>
                  </a:lnTo>
                  <a:lnTo>
                    <a:pt x="3704033" y="347279"/>
                  </a:lnTo>
                  <a:cubicBezTo>
                    <a:pt x="3692851" y="373371"/>
                    <a:pt x="3682734" y="392540"/>
                    <a:pt x="3671552" y="403722"/>
                  </a:cubicBezTo>
                  <a:cubicBezTo>
                    <a:pt x="3660369" y="414904"/>
                    <a:pt x="3648122" y="420762"/>
                    <a:pt x="3634278" y="420762"/>
                  </a:cubicBezTo>
                  <a:cubicBezTo>
                    <a:pt x="3625226" y="420762"/>
                    <a:pt x="3617238" y="418632"/>
                    <a:pt x="3611914" y="413839"/>
                  </a:cubicBezTo>
                  <a:cubicBezTo>
                    <a:pt x="3606056" y="409580"/>
                    <a:pt x="3603926" y="403722"/>
                    <a:pt x="3603926" y="396800"/>
                  </a:cubicBezTo>
                  <a:cubicBezTo>
                    <a:pt x="3603926" y="392540"/>
                    <a:pt x="3604992" y="387748"/>
                    <a:pt x="3606056" y="384553"/>
                  </a:cubicBezTo>
                  <a:cubicBezTo>
                    <a:pt x="3608186" y="380293"/>
                    <a:pt x="3611914" y="376566"/>
                    <a:pt x="3615108" y="373371"/>
                  </a:cubicBezTo>
                  <a:lnTo>
                    <a:pt x="3656642" y="389345"/>
                  </a:lnTo>
                  <a:cubicBezTo>
                    <a:pt x="3663564" y="382423"/>
                    <a:pt x="3669954" y="373371"/>
                    <a:pt x="3675811" y="362189"/>
                  </a:cubicBezTo>
                  <a:cubicBezTo>
                    <a:pt x="3681668" y="351007"/>
                    <a:pt x="3686993" y="338760"/>
                    <a:pt x="3692851" y="323850"/>
                  </a:cubicBezTo>
                  <a:lnTo>
                    <a:pt x="3618304" y="133755"/>
                  </a:lnTo>
                  <a:lnTo>
                    <a:pt x="3592212" y="131625"/>
                  </a:lnTo>
                  <a:lnTo>
                    <a:pt x="3592212" y="114053"/>
                  </a:lnTo>
                  <a:close/>
                  <a:moveTo>
                    <a:pt x="2548019" y="114053"/>
                  </a:moveTo>
                  <a:lnTo>
                    <a:pt x="2643865" y="114053"/>
                  </a:lnTo>
                  <a:lnTo>
                    <a:pt x="2643865" y="131093"/>
                  </a:lnTo>
                  <a:lnTo>
                    <a:pt x="2620436" y="132158"/>
                  </a:lnTo>
                  <a:lnTo>
                    <a:pt x="2616176" y="140145"/>
                  </a:lnTo>
                  <a:lnTo>
                    <a:pt x="2666762" y="283382"/>
                  </a:lnTo>
                  <a:lnTo>
                    <a:pt x="2723205" y="140145"/>
                  </a:lnTo>
                  <a:lnTo>
                    <a:pt x="2720010" y="132158"/>
                  </a:lnTo>
                  <a:lnTo>
                    <a:pt x="2696581" y="131093"/>
                  </a:lnTo>
                  <a:lnTo>
                    <a:pt x="2696581" y="114053"/>
                  </a:lnTo>
                  <a:lnTo>
                    <a:pt x="2773258" y="114053"/>
                  </a:lnTo>
                  <a:lnTo>
                    <a:pt x="2773258" y="131093"/>
                  </a:lnTo>
                  <a:lnTo>
                    <a:pt x="2748231" y="134287"/>
                  </a:lnTo>
                  <a:lnTo>
                    <a:pt x="2671554" y="325448"/>
                  </a:lnTo>
                  <a:lnTo>
                    <a:pt x="2646528" y="325448"/>
                  </a:lnTo>
                  <a:lnTo>
                    <a:pt x="2575708" y="132690"/>
                  </a:lnTo>
                  <a:lnTo>
                    <a:pt x="2548552" y="130560"/>
                  </a:lnTo>
                  <a:lnTo>
                    <a:pt x="2548552" y="114053"/>
                  </a:lnTo>
                  <a:lnTo>
                    <a:pt x="2548019" y="114053"/>
                  </a:lnTo>
                  <a:close/>
                  <a:moveTo>
                    <a:pt x="2873364" y="110326"/>
                  </a:moveTo>
                  <a:lnTo>
                    <a:pt x="2873364" y="129495"/>
                  </a:lnTo>
                  <a:cubicBezTo>
                    <a:pt x="2860052" y="130560"/>
                    <a:pt x="2849935" y="137482"/>
                    <a:pt x="2839818" y="147599"/>
                  </a:cubicBezTo>
                  <a:cubicBezTo>
                    <a:pt x="2829701" y="158782"/>
                    <a:pt x="2823843" y="173691"/>
                    <a:pt x="2822779" y="191263"/>
                  </a:cubicBezTo>
                  <a:lnTo>
                    <a:pt x="2873364" y="191263"/>
                  </a:lnTo>
                  <a:lnTo>
                    <a:pt x="2873364" y="209367"/>
                  </a:lnTo>
                  <a:lnTo>
                    <a:pt x="2820649" y="209367"/>
                  </a:lnTo>
                  <a:lnTo>
                    <a:pt x="2820649" y="215224"/>
                  </a:lnTo>
                  <a:cubicBezTo>
                    <a:pt x="2820649" y="242381"/>
                    <a:pt x="2827571" y="263680"/>
                    <a:pt x="2839818" y="280719"/>
                  </a:cubicBezTo>
                  <a:cubicBezTo>
                    <a:pt x="2848870" y="290837"/>
                    <a:pt x="2860052" y="298824"/>
                    <a:pt x="2873364" y="302019"/>
                  </a:cubicBezTo>
                  <a:lnTo>
                    <a:pt x="2873364" y="329175"/>
                  </a:lnTo>
                  <a:cubicBezTo>
                    <a:pt x="2847273" y="328110"/>
                    <a:pt x="2825973" y="317993"/>
                    <a:pt x="2808934" y="299889"/>
                  </a:cubicBezTo>
                  <a:cubicBezTo>
                    <a:pt x="2790830" y="279655"/>
                    <a:pt x="2781778" y="253563"/>
                    <a:pt x="2781778" y="221082"/>
                  </a:cubicBezTo>
                  <a:cubicBezTo>
                    <a:pt x="2781778" y="188600"/>
                    <a:pt x="2791895" y="162509"/>
                    <a:pt x="2809999" y="141210"/>
                  </a:cubicBezTo>
                  <a:cubicBezTo>
                    <a:pt x="2827038" y="123106"/>
                    <a:pt x="2847273" y="112988"/>
                    <a:pt x="2873364" y="110326"/>
                  </a:cubicBezTo>
                  <a:lnTo>
                    <a:pt x="2873364" y="110326"/>
                  </a:lnTo>
                  <a:close/>
                  <a:moveTo>
                    <a:pt x="1632686" y="323318"/>
                  </a:moveTo>
                  <a:lnTo>
                    <a:pt x="1632686" y="304149"/>
                  </a:lnTo>
                  <a:cubicBezTo>
                    <a:pt x="1636946" y="303084"/>
                    <a:pt x="1641738" y="302019"/>
                    <a:pt x="1647063" y="299889"/>
                  </a:cubicBezTo>
                  <a:cubicBezTo>
                    <a:pt x="1656115" y="296694"/>
                    <a:pt x="1666232" y="291902"/>
                    <a:pt x="1677414" y="285512"/>
                  </a:cubicBezTo>
                  <a:lnTo>
                    <a:pt x="1677414" y="207237"/>
                  </a:lnTo>
                  <a:cubicBezTo>
                    <a:pt x="1659310" y="213095"/>
                    <a:pt x="1644933" y="217354"/>
                    <a:pt x="1632153" y="222147"/>
                  </a:cubicBezTo>
                  <a:lnTo>
                    <a:pt x="1632153" y="204042"/>
                  </a:lnTo>
                  <a:cubicBezTo>
                    <a:pt x="1645465" y="200847"/>
                    <a:pt x="1660375" y="196055"/>
                    <a:pt x="1677414" y="192860"/>
                  </a:cubicBezTo>
                  <a:lnTo>
                    <a:pt x="1677414" y="178483"/>
                  </a:lnTo>
                  <a:cubicBezTo>
                    <a:pt x="1677414" y="160379"/>
                    <a:pt x="1674219" y="148132"/>
                    <a:pt x="1668362" y="140145"/>
                  </a:cubicBezTo>
                  <a:cubicBezTo>
                    <a:pt x="1662505" y="133223"/>
                    <a:pt x="1651323" y="130028"/>
                    <a:pt x="1636946" y="130028"/>
                  </a:cubicBezTo>
                  <a:cubicBezTo>
                    <a:pt x="1635881" y="130028"/>
                    <a:pt x="1633751" y="130028"/>
                    <a:pt x="1632686" y="130028"/>
                  </a:cubicBezTo>
                  <a:lnTo>
                    <a:pt x="1632686" y="110858"/>
                  </a:lnTo>
                  <a:cubicBezTo>
                    <a:pt x="1638543" y="110858"/>
                    <a:pt x="1642803" y="109794"/>
                    <a:pt x="1648660" y="109794"/>
                  </a:cubicBezTo>
                  <a:cubicBezTo>
                    <a:pt x="1672089" y="109794"/>
                    <a:pt x="1688064" y="115651"/>
                    <a:pt x="1699246" y="125768"/>
                  </a:cubicBezTo>
                  <a:cubicBezTo>
                    <a:pt x="1709363" y="135885"/>
                    <a:pt x="1715220" y="151859"/>
                    <a:pt x="1715220" y="174223"/>
                  </a:cubicBezTo>
                  <a:lnTo>
                    <a:pt x="1715220" y="300421"/>
                  </a:lnTo>
                  <a:lnTo>
                    <a:pt x="1722143" y="308408"/>
                  </a:lnTo>
                  <a:lnTo>
                    <a:pt x="1745572" y="310538"/>
                  </a:lnTo>
                  <a:lnTo>
                    <a:pt x="1745572" y="326513"/>
                  </a:lnTo>
                  <a:lnTo>
                    <a:pt x="1683804" y="326513"/>
                  </a:lnTo>
                  <a:lnTo>
                    <a:pt x="1677947" y="300421"/>
                  </a:lnTo>
                  <a:cubicBezTo>
                    <a:pt x="1663570" y="310538"/>
                    <a:pt x="1650790" y="317461"/>
                    <a:pt x="1638543" y="321720"/>
                  </a:cubicBezTo>
                  <a:cubicBezTo>
                    <a:pt x="1636946" y="322253"/>
                    <a:pt x="1634816" y="322253"/>
                    <a:pt x="1632686" y="323318"/>
                  </a:cubicBezTo>
                  <a:lnTo>
                    <a:pt x="1632686" y="323318"/>
                  </a:lnTo>
                  <a:close/>
                  <a:moveTo>
                    <a:pt x="2494771" y="15012"/>
                  </a:moveTo>
                  <a:cubicBezTo>
                    <a:pt x="2502758" y="15012"/>
                    <a:pt x="2508083" y="17142"/>
                    <a:pt x="2512875" y="22999"/>
                  </a:cubicBezTo>
                  <a:cubicBezTo>
                    <a:pt x="2518732" y="27259"/>
                    <a:pt x="2520862" y="33116"/>
                    <a:pt x="2520862" y="41104"/>
                  </a:cubicBezTo>
                  <a:cubicBezTo>
                    <a:pt x="2520862" y="48026"/>
                    <a:pt x="2518732" y="53351"/>
                    <a:pt x="2512875" y="58143"/>
                  </a:cubicBezTo>
                  <a:cubicBezTo>
                    <a:pt x="2508616" y="64000"/>
                    <a:pt x="2502758" y="66130"/>
                    <a:pt x="2494771" y="66130"/>
                  </a:cubicBezTo>
                  <a:cubicBezTo>
                    <a:pt x="2487849" y="66130"/>
                    <a:pt x="2482524" y="64000"/>
                    <a:pt x="2477731" y="58143"/>
                  </a:cubicBezTo>
                  <a:cubicBezTo>
                    <a:pt x="2471874" y="53883"/>
                    <a:pt x="2469744" y="48026"/>
                    <a:pt x="2469744" y="41104"/>
                  </a:cubicBezTo>
                  <a:cubicBezTo>
                    <a:pt x="2469744" y="33116"/>
                    <a:pt x="2471874" y="27792"/>
                    <a:pt x="2477731" y="22999"/>
                  </a:cubicBezTo>
                  <a:cubicBezTo>
                    <a:pt x="2482524" y="17142"/>
                    <a:pt x="2488381" y="15012"/>
                    <a:pt x="2494771" y="15012"/>
                  </a:cubicBezTo>
                  <a:lnTo>
                    <a:pt x="2494771" y="15012"/>
                  </a:lnTo>
                  <a:close/>
                  <a:moveTo>
                    <a:pt x="2493706" y="112988"/>
                  </a:moveTo>
                  <a:lnTo>
                    <a:pt x="2510745" y="112988"/>
                  </a:lnTo>
                  <a:lnTo>
                    <a:pt x="2510745" y="299889"/>
                  </a:lnTo>
                  <a:lnTo>
                    <a:pt x="2518732" y="307876"/>
                  </a:lnTo>
                  <a:lnTo>
                    <a:pt x="2542162" y="310006"/>
                  </a:lnTo>
                  <a:lnTo>
                    <a:pt x="2542162" y="325980"/>
                  </a:lnTo>
                  <a:lnTo>
                    <a:pt x="2443120" y="325980"/>
                  </a:lnTo>
                  <a:lnTo>
                    <a:pt x="2443120" y="310006"/>
                  </a:lnTo>
                  <a:lnTo>
                    <a:pt x="2466549" y="307876"/>
                  </a:lnTo>
                  <a:lnTo>
                    <a:pt x="2473472" y="299889"/>
                  </a:lnTo>
                  <a:lnTo>
                    <a:pt x="2473472" y="142275"/>
                  </a:lnTo>
                  <a:lnTo>
                    <a:pt x="2443120" y="142275"/>
                  </a:lnTo>
                  <a:lnTo>
                    <a:pt x="2443120" y="127365"/>
                  </a:lnTo>
                  <a:lnTo>
                    <a:pt x="2493706" y="112988"/>
                  </a:lnTo>
                  <a:lnTo>
                    <a:pt x="2493706" y="112988"/>
                  </a:lnTo>
                  <a:close/>
                  <a:moveTo>
                    <a:pt x="2191790" y="325448"/>
                  </a:moveTo>
                  <a:lnTo>
                    <a:pt x="2191790" y="309473"/>
                  </a:lnTo>
                  <a:lnTo>
                    <a:pt x="2215219" y="307343"/>
                  </a:lnTo>
                  <a:lnTo>
                    <a:pt x="2223206" y="299356"/>
                  </a:lnTo>
                  <a:lnTo>
                    <a:pt x="2223206" y="141742"/>
                  </a:lnTo>
                  <a:lnTo>
                    <a:pt x="2191790" y="141742"/>
                  </a:lnTo>
                  <a:lnTo>
                    <a:pt x="2191790" y="127365"/>
                  </a:lnTo>
                  <a:lnTo>
                    <a:pt x="2242376" y="112456"/>
                  </a:lnTo>
                  <a:lnTo>
                    <a:pt x="2259415" y="112456"/>
                  </a:lnTo>
                  <a:lnTo>
                    <a:pt x="2259415" y="135885"/>
                  </a:lnTo>
                  <a:cubicBezTo>
                    <a:pt x="2277519" y="125768"/>
                    <a:pt x="2290831" y="118846"/>
                    <a:pt x="2302013" y="115651"/>
                  </a:cubicBezTo>
                  <a:cubicBezTo>
                    <a:pt x="2312130" y="111391"/>
                    <a:pt x="2321183" y="108729"/>
                    <a:pt x="2330235" y="108729"/>
                  </a:cubicBezTo>
                  <a:cubicBezTo>
                    <a:pt x="2349404" y="108729"/>
                    <a:pt x="2363781" y="115651"/>
                    <a:pt x="2373898" y="126833"/>
                  </a:cubicBezTo>
                  <a:cubicBezTo>
                    <a:pt x="2384015" y="138015"/>
                    <a:pt x="2388275" y="155054"/>
                    <a:pt x="2388275" y="176354"/>
                  </a:cubicBezTo>
                  <a:lnTo>
                    <a:pt x="2388275" y="298824"/>
                  </a:lnTo>
                  <a:lnTo>
                    <a:pt x="2396262" y="306811"/>
                  </a:lnTo>
                  <a:lnTo>
                    <a:pt x="2419691" y="308941"/>
                  </a:lnTo>
                  <a:lnTo>
                    <a:pt x="2419691" y="324915"/>
                  </a:lnTo>
                  <a:lnTo>
                    <a:pt x="2323845" y="324915"/>
                  </a:lnTo>
                  <a:lnTo>
                    <a:pt x="2323845" y="308941"/>
                  </a:lnTo>
                  <a:lnTo>
                    <a:pt x="2344079" y="306811"/>
                  </a:lnTo>
                  <a:lnTo>
                    <a:pt x="2352066" y="298824"/>
                  </a:lnTo>
                  <a:lnTo>
                    <a:pt x="2352066" y="182743"/>
                  </a:lnTo>
                  <a:cubicBezTo>
                    <a:pt x="2352066" y="166769"/>
                    <a:pt x="2348872" y="155587"/>
                    <a:pt x="2341949" y="147599"/>
                  </a:cubicBezTo>
                  <a:cubicBezTo>
                    <a:pt x="2335027" y="140677"/>
                    <a:pt x="2323845" y="137482"/>
                    <a:pt x="2308403" y="137482"/>
                  </a:cubicBezTo>
                  <a:cubicBezTo>
                    <a:pt x="2300416" y="137482"/>
                    <a:pt x="2294026" y="138547"/>
                    <a:pt x="2284974" y="140677"/>
                  </a:cubicBezTo>
                  <a:cubicBezTo>
                    <a:pt x="2276987" y="143872"/>
                    <a:pt x="2267935" y="147599"/>
                    <a:pt x="2258882" y="151859"/>
                  </a:cubicBezTo>
                  <a:lnTo>
                    <a:pt x="2258882" y="298291"/>
                  </a:lnTo>
                  <a:lnTo>
                    <a:pt x="2266870" y="306279"/>
                  </a:lnTo>
                  <a:lnTo>
                    <a:pt x="2287104" y="308408"/>
                  </a:lnTo>
                  <a:lnTo>
                    <a:pt x="2287104" y="324383"/>
                  </a:lnTo>
                  <a:lnTo>
                    <a:pt x="2191790" y="324383"/>
                  </a:lnTo>
                  <a:lnTo>
                    <a:pt x="2191790" y="325448"/>
                  </a:lnTo>
                  <a:close/>
                  <a:moveTo>
                    <a:pt x="1885614" y="31519"/>
                  </a:moveTo>
                  <a:lnTo>
                    <a:pt x="1992642" y="31519"/>
                  </a:lnTo>
                  <a:lnTo>
                    <a:pt x="1992642" y="48558"/>
                  </a:lnTo>
                  <a:lnTo>
                    <a:pt x="1965486" y="50688"/>
                  </a:lnTo>
                  <a:lnTo>
                    <a:pt x="1958563" y="57610"/>
                  </a:lnTo>
                  <a:lnTo>
                    <a:pt x="1958563" y="216289"/>
                  </a:lnTo>
                  <a:cubicBezTo>
                    <a:pt x="1958563" y="246641"/>
                    <a:pt x="1964421" y="269005"/>
                    <a:pt x="1976668" y="282849"/>
                  </a:cubicBezTo>
                  <a:cubicBezTo>
                    <a:pt x="1988915" y="296161"/>
                    <a:pt x="2009149" y="303084"/>
                    <a:pt x="2036306" y="303084"/>
                  </a:cubicBezTo>
                  <a:cubicBezTo>
                    <a:pt x="2063462" y="303084"/>
                    <a:pt x="2083696" y="296161"/>
                    <a:pt x="2095944" y="282849"/>
                  </a:cubicBezTo>
                  <a:cubicBezTo>
                    <a:pt x="2108191" y="268472"/>
                    <a:pt x="2114048" y="246641"/>
                    <a:pt x="2114048" y="216289"/>
                  </a:cubicBezTo>
                  <a:lnTo>
                    <a:pt x="2114048" y="60805"/>
                  </a:lnTo>
                  <a:lnTo>
                    <a:pt x="2106061" y="52818"/>
                  </a:lnTo>
                  <a:lnTo>
                    <a:pt x="2078904" y="48558"/>
                  </a:lnTo>
                  <a:lnTo>
                    <a:pt x="2078904" y="31519"/>
                  </a:lnTo>
                  <a:lnTo>
                    <a:pt x="2172088" y="31519"/>
                  </a:lnTo>
                  <a:lnTo>
                    <a:pt x="2172088" y="48558"/>
                  </a:lnTo>
                  <a:lnTo>
                    <a:pt x="2144932" y="52818"/>
                  </a:lnTo>
                  <a:lnTo>
                    <a:pt x="2136944" y="60805"/>
                  </a:lnTo>
                  <a:lnTo>
                    <a:pt x="2136944" y="219484"/>
                  </a:lnTo>
                  <a:cubicBezTo>
                    <a:pt x="2136944" y="240783"/>
                    <a:pt x="2135880" y="256758"/>
                    <a:pt x="2132685" y="267940"/>
                  </a:cubicBezTo>
                  <a:cubicBezTo>
                    <a:pt x="2130555" y="279122"/>
                    <a:pt x="2124697" y="288174"/>
                    <a:pt x="2118308" y="297226"/>
                  </a:cubicBezTo>
                  <a:cubicBezTo>
                    <a:pt x="2109256" y="307343"/>
                    <a:pt x="2098073" y="315331"/>
                    <a:pt x="2081034" y="320655"/>
                  </a:cubicBezTo>
                  <a:cubicBezTo>
                    <a:pt x="2065059" y="327578"/>
                    <a:pt x="2047488" y="329708"/>
                    <a:pt x="2028319" y="329708"/>
                  </a:cubicBezTo>
                  <a:cubicBezTo>
                    <a:pt x="2008084" y="329708"/>
                    <a:pt x="1989980" y="327578"/>
                    <a:pt x="1974538" y="320655"/>
                  </a:cubicBezTo>
                  <a:cubicBezTo>
                    <a:pt x="1958563" y="314798"/>
                    <a:pt x="1946317" y="307343"/>
                    <a:pt x="1937264" y="297226"/>
                  </a:cubicBezTo>
                  <a:cubicBezTo>
                    <a:pt x="1930342" y="288174"/>
                    <a:pt x="1925017" y="279122"/>
                    <a:pt x="1922888" y="267940"/>
                  </a:cubicBezTo>
                  <a:cubicBezTo>
                    <a:pt x="1919693" y="256758"/>
                    <a:pt x="1918627" y="240783"/>
                    <a:pt x="1918627" y="219484"/>
                  </a:cubicBezTo>
                  <a:lnTo>
                    <a:pt x="1918627" y="57610"/>
                  </a:lnTo>
                  <a:lnTo>
                    <a:pt x="1910640" y="50688"/>
                  </a:lnTo>
                  <a:lnTo>
                    <a:pt x="1885614" y="48558"/>
                  </a:lnTo>
                  <a:lnTo>
                    <a:pt x="1885614" y="31519"/>
                  </a:lnTo>
                  <a:close/>
                  <a:moveTo>
                    <a:pt x="1632686" y="110326"/>
                  </a:moveTo>
                  <a:lnTo>
                    <a:pt x="1632686" y="129495"/>
                  </a:lnTo>
                  <a:cubicBezTo>
                    <a:pt x="1629491" y="129495"/>
                    <a:pt x="1624699" y="130560"/>
                    <a:pt x="1621504" y="130560"/>
                  </a:cubicBezTo>
                  <a:cubicBezTo>
                    <a:pt x="1615647" y="131625"/>
                    <a:pt x="1610322" y="133755"/>
                    <a:pt x="1604464" y="136418"/>
                  </a:cubicBezTo>
                  <a:lnTo>
                    <a:pt x="1604464" y="173691"/>
                  </a:lnTo>
                  <a:lnTo>
                    <a:pt x="1574113" y="173691"/>
                  </a:lnTo>
                  <a:cubicBezTo>
                    <a:pt x="1568256" y="173691"/>
                    <a:pt x="1565061" y="172626"/>
                    <a:pt x="1562931" y="170496"/>
                  </a:cubicBezTo>
                  <a:cubicBezTo>
                    <a:pt x="1560801" y="168366"/>
                    <a:pt x="1560801" y="164639"/>
                    <a:pt x="1560801" y="160379"/>
                  </a:cubicBezTo>
                  <a:cubicBezTo>
                    <a:pt x="1560801" y="145470"/>
                    <a:pt x="1568788" y="133223"/>
                    <a:pt x="1584230" y="124170"/>
                  </a:cubicBezTo>
                  <a:cubicBezTo>
                    <a:pt x="1597542" y="116183"/>
                    <a:pt x="1613517" y="111923"/>
                    <a:pt x="1632686" y="110326"/>
                  </a:cubicBezTo>
                  <a:lnTo>
                    <a:pt x="1632686" y="110326"/>
                  </a:lnTo>
                  <a:close/>
                  <a:moveTo>
                    <a:pt x="1632686" y="204042"/>
                  </a:moveTo>
                  <a:lnTo>
                    <a:pt x="1632686" y="222147"/>
                  </a:lnTo>
                  <a:cubicBezTo>
                    <a:pt x="1620439" y="226407"/>
                    <a:pt x="1611387" y="231199"/>
                    <a:pt x="1605529" y="235459"/>
                  </a:cubicBezTo>
                  <a:cubicBezTo>
                    <a:pt x="1594347" y="244511"/>
                    <a:pt x="1587425" y="254628"/>
                    <a:pt x="1587425" y="269005"/>
                  </a:cubicBezTo>
                  <a:cubicBezTo>
                    <a:pt x="1587425" y="279122"/>
                    <a:pt x="1590620" y="288174"/>
                    <a:pt x="1597542" y="295096"/>
                  </a:cubicBezTo>
                  <a:cubicBezTo>
                    <a:pt x="1603400" y="302019"/>
                    <a:pt x="1611919" y="304149"/>
                    <a:pt x="1623634" y="304149"/>
                  </a:cubicBezTo>
                  <a:cubicBezTo>
                    <a:pt x="1625764" y="304149"/>
                    <a:pt x="1629491" y="304149"/>
                    <a:pt x="1632686" y="304149"/>
                  </a:cubicBezTo>
                  <a:lnTo>
                    <a:pt x="1632686" y="323318"/>
                  </a:lnTo>
                  <a:cubicBezTo>
                    <a:pt x="1623634" y="326513"/>
                    <a:pt x="1614582" y="327578"/>
                    <a:pt x="1605529" y="327578"/>
                  </a:cubicBezTo>
                  <a:cubicBezTo>
                    <a:pt x="1588490" y="327578"/>
                    <a:pt x="1575178" y="323318"/>
                    <a:pt x="1565061" y="313201"/>
                  </a:cubicBezTo>
                  <a:cubicBezTo>
                    <a:pt x="1554944" y="303084"/>
                    <a:pt x="1549087" y="288174"/>
                    <a:pt x="1549087" y="272732"/>
                  </a:cubicBezTo>
                  <a:cubicBezTo>
                    <a:pt x="1549087" y="253563"/>
                    <a:pt x="1557074" y="239186"/>
                    <a:pt x="1572516" y="227471"/>
                  </a:cubicBezTo>
                  <a:cubicBezTo>
                    <a:pt x="1583165" y="221082"/>
                    <a:pt x="1603400" y="213095"/>
                    <a:pt x="1632686" y="204042"/>
                  </a:cubicBezTo>
                  <a:lnTo>
                    <a:pt x="1632686" y="204042"/>
                  </a:lnTo>
                  <a:close/>
                  <a:moveTo>
                    <a:pt x="913306" y="420229"/>
                  </a:moveTo>
                  <a:lnTo>
                    <a:pt x="913306" y="401060"/>
                  </a:lnTo>
                  <a:cubicBezTo>
                    <a:pt x="914371" y="401060"/>
                    <a:pt x="916501" y="401060"/>
                    <a:pt x="917565" y="401060"/>
                  </a:cubicBezTo>
                  <a:cubicBezTo>
                    <a:pt x="936735" y="401060"/>
                    <a:pt x="951112" y="396800"/>
                    <a:pt x="963891" y="387748"/>
                  </a:cubicBezTo>
                  <a:cubicBezTo>
                    <a:pt x="976138" y="378696"/>
                    <a:pt x="983061" y="367514"/>
                    <a:pt x="983061" y="354202"/>
                  </a:cubicBezTo>
                  <a:cubicBezTo>
                    <a:pt x="983061" y="345150"/>
                    <a:pt x="980931" y="337162"/>
                    <a:pt x="975073" y="332903"/>
                  </a:cubicBezTo>
                  <a:cubicBezTo>
                    <a:pt x="969216" y="328643"/>
                    <a:pt x="956969" y="323850"/>
                    <a:pt x="937800" y="320655"/>
                  </a:cubicBezTo>
                  <a:lnTo>
                    <a:pt x="912773" y="316396"/>
                  </a:lnTo>
                  <a:lnTo>
                    <a:pt x="912773" y="284979"/>
                  </a:lnTo>
                  <a:lnTo>
                    <a:pt x="940995" y="289239"/>
                  </a:lnTo>
                  <a:cubicBezTo>
                    <a:pt x="968151" y="293499"/>
                    <a:pt x="987320" y="300421"/>
                    <a:pt x="998502" y="308408"/>
                  </a:cubicBezTo>
                  <a:cubicBezTo>
                    <a:pt x="1009685" y="316396"/>
                    <a:pt x="1015542" y="328643"/>
                    <a:pt x="1015542" y="343552"/>
                  </a:cubicBezTo>
                  <a:cubicBezTo>
                    <a:pt x="1015542" y="352604"/>
                    <a:pt x="1013412" y="360591"/>
                    <a:pt x="1008620" y="369644"/>
                  </a:cubicBezTo>
                  <a:cubicBezTo>
                    <a:pt x="1002762" y="378696"/>
                    <a:pt x="997437" y="386683"/>
                    <a:pt x="988385" y="393073"/>
                  </a:cubicBezTo>
                  <a:cubicBezTo>
                    <a:pt x="977203" y="402125"/>
                    <a:pt x="963359" y="409047"/>
                    <a:pt x="948982" y="414372"/>
                  </a:cubicBezTo>
                  <a:cubicBezTo>
                    <a:pt x="937800" y="416502"/>
                    <a:pt x="925552" y="419164"/>
                    <a:pt x="913306" y="420229"/>
                  </a:cubicBezTo>
                  <a:lnTo>
                    <a:pt x="913306" y="420229"/>
                  </a:lnTo>
                  <a:close/>
                  <a:moveTo>
                    <a:pt x="913306" y="252498"/>
                  </a:moveTo>
                  <a:lnTo>
                    <a:pt x="913306" y="234394"/>
                  </a:lnTo>
                  <a:lnTo>
                    <a:pt x="913306" y="234394"/>
                  </a:lnTo>
                  <a:cubicBezTo>
                    <a:pt x="925552" y="234394"/>
                    <a:pt x="936735" y="230134"/>
                    <a:pt x="944722" y="219484"/>
                  </a:cubicBezTo>
                  <a:cubicBezTo>
                    <a:pt x="952709" y="210432"/>
                    <a:pt x="955904" y="197120"/>
                    <a:pt x="955904" y="181146"/>
                  </a:cubicBezTo>
                  <a:cubicBezTo>
                    <a:pt x="955904" y="164106"/>
                    <a:pt x="952709" y="151859"/>
                    <a:pt x="944722" y="141742"/>
                  </a:cubicBezTo>
                  <a:cubicBezTo>
                    <a:pt x="936735" y="131625"/>
                    <a:pt x="926618" y="127365"/>
                    <a:pt x="913306" y="127365"/>
                  </a:cubicBezTo>
                  <a:lnTo>
                    <a:pt x="913306" y="127365"/>
                  </a:lnTo>
                  <a:lnTo>
                    <a:pt x="913306" y="110326"/>
                  </a:lnTo>
                  <a:cubicBezTo>
                    <a:pt x="914371" y="109261"/>
                    <a:pt x="916501" y="109261"/>
                    <a:pt x="917565" y="109261"/>
                  </a:cubicBezTo>
                  <a:cubicBezTo>
                    <a:pt x="925552" y="109261"/>
                    <a:pt x="934605" y="110326"/>
                    <a:pt x="942592" y="112456"/>
                  </a:cubicBezTo>
                  <a:cubicBezTo>
                    <a:pt x="950579" y="114586"/>
                    <a:pt x="959631" y="118313"/>
                    <a:pt x="967619" y="122573"/>
                  </a:cubicBezTo>
                  <a:lnTo>
                    <a:pt x="1030451" y="122573"/>
                  </a:lnTo>
                  <a:lnTo>
                    <a:pt x="1030451" y="142807"/>
                  </a:lnTo>
                  <a:lnTo>
                    <a:pt x="981996" y="142807"/>
                  </a:lnTo>
                  <a:cubicBezTo>
                    <a:pt x="986255" y="148665"/>
                    <a:pt x="988918" y="155054"/>
                    <a:pt x="991048" y="161976"/>
                  </a:cubicBezTo>
                  <a:cubicBezTo>
                    <a:pt x="993178" y="168899"/>
                    <a:pt x="994243" y="175288"/>
                    <a:pt x="994243" y="183276"/>
                  </a:cubicBezTo>
                  <a:cubicBezTo>
                    <a:pt x="994243" y="203510"/>
                    <a:pt x="986255" y="219484"/>
                    <a:pt x="970813" y="232796"/>
                  </a:cubicBezTo>
                  <a:cubicBezTo>
                    <a:pt x="955904" y="245576"/>
                    <a:pt x="936735" y="251433"/>
                    <a:pt x="913306" y="252498"/>
                  </a:cubicBezTo>
                  <a:lnTo>
                    <a:pt x="913306" y="252498"/>
                  </a:lnTo>
                  <a:close/>
                  <a:moveTo>
                    <a:pt x="1344082" y="109261"/>
                  </a:moveTo>
                  <a:lnTo>
                    <a:pt x="1361121" y="109261"/>
                  </a:lnTo>
                  <a:lnTo>
                    <a:pt x="1361121" y="254628"/>
                  </a:lnTo>
                  <a:cubicBezTo>
                    <a:pt x="1361121" y="271667"/>
                    <a:pt x="1364316" y="282849"/>
                    <a:pt x="1371238" y="290837"/>
                  </a:cubicBezTo>
                  <a:cubicBezTo>
                    <a:pt x="1378160" y="297759"/>
                    <a:pt x="1388278" y="302019"/>
                    <a:pt x="1402655" y="302019"/>
                  </a:cubicBezTo>
                  <a:cubicBezTo>
                    <a:pt x="1410642" y="302019"/>
                    <a:pt x="1419694" y="300954"/>
                    <a:pt x="1427681" y="298824"/>
                  </a:cubicBezTo>
                  <a:cubicBezTo>
                    <a:pt x="1436733" y="296694"/>
                    <a:pt x="1444720" y="292967"/>
                    <a:pt x="1453773" y="288707"/>
                  </a:cubicBezTo>
                  <a:lnTo>
                    <a:pt x="1453773" y="140145"/>
                  </a:lnTo>
                  <a:lnTo>
                    <a:pt x="1422889" y="140145"/>
                  </a:lnTo>
                  <a:lnTo>
                    <a:pt x="1422889" y="126833"/>
                  </a:lnTo>
                  <a:lnTo>
                    <a:pt x="1473474" y="109794"/>
                  </a:lnTo>
                  <a:lnTo>
                    <a:pt x="1490514" y="109794"/>
                  </a:lnTo>
                  <a:lnTo>
                    <a:pt x="1490514" y="299889"/>
                  </a:lnTo>
                  <a:lnTo>
                    <a:pt x="1498501" y="307876"/>
                  </a:lnTo>
                  <a:lnTo>
                    <a:pt x="1518735" y="310006"/>
                  </a:lnTo>
                  <a:lnTo>
                    <a:pt x="1518735" y="325980"/>
                  </a:lnTo>
                  <a:lnTo>
                    <a:pt x="1453240" y="325980"/>
                  </a:lnTo>
                  <a:lnTo>
                    <a:pt x="1453240" y="300954"/>
                  </a:lnTo>
                  <a:cubicBezTo>
                    <a:pt x="1439928" y="311071"/>
                    <a:pt x="1427149" y="317993"/>
                    <a:pt x="1415967" y="322253"/>
                  </a:cubicBezTo>
                  <a:cubicBezTo>
                    <a:pt x="1403720" y="326513"/>
                    <a:pt x="1393602" y="329175"/>
                    <a:pt x="1382421" y="329175"/>
                  </a:cubicBezTo>
                  <a:cubicBezTo>
                    <a:pt x="1363251" y="329175"/>
                    <a:pt x="1349939" y="323318"/>
                    <a:pt x="1339822" y="312136"/>
                  </a:cubicBezTo>
                  <a:cubicBezTo>
                    <a:pt x="1329705" y="300954"/>
                    <a:pt x="1323848" y="283914"/>
                    <a:pt x="1323848" y="262615"/>
                  </a:cubicBezTo>
                  <a:lnTo>
                    <a:pt x="1323848" y="140145"/>
                  </a:lnTo>
                  <a:lnTo>
                    <a:pt x="1292431" y="140145"/>
                  </a:lnTo>
                  <a:lnTo>
                    <a:pt x="1292431" y="126833"/>
                  </a:lnTo>
                  <a:lnTo>
                    <a:pt x="1344082" y="109261"/>
                  </a:lnTo>
                  <a:lnTo>
                    <a:pt x="1344082" y="109261"/>
                  </a:lnTo>
                  <a:close/>
                  <a:moveTo>
                    <a:pt x="1096479" y="2233"/>
                  </a:moveTo>
                  <a:lnTo>
                    <a:pt x="1113518" y="2233"/>
                  </a:lnTo>
                  <a:lnTo>
                    <a:pt x="1113518" y="136418"/>
                  </a:lnTo>
                  <a:cubicBezTo>
                    <a:pt x="1130557" y="126300"/>
                    <a:pt x="1143869" y="119378"/>
                    <a:pt x="1155052" y="116183"/>
                  </a:cubicBezTo>
                  <a:cubicBezTo>
                    <a:pt x="1166233" y="111923"/>
                    <a:pt x="1175286" y="109261"/>
                    <a:pt x="1184338" y="109261"/>
                  </a:cubicBezTo>
                  <a:cubicBezTo>
                    <a:pt x="1203507" y="109261"/>
                    <a:pt x="1217884" y="116183"/>
                    <a:pt x="1228001" y="127365"/>
                  </a:cubicBezTo>
                  <a:cubicBezTo>
                    <a:pt x="1238118" y="138547"/>
                    <a:pt x="1242911" y="155587"/>
                    <a:pt x="1242911" y="176886"/>
                  </a:cubicBezTo>
                  <a:lnTo>
                    <a:pt x="1242911" y="299356"/>
                  </a:lnTo>
                  <a:lnTo>
                    <a:pt x="1250898" y="307343"/>
                  </a:lnTo>
                  <a:lnTo>
                    <a:pt x="1273262" y="309473"/>
                  </a:lnTo>
                  <a:lnTo>
                    <a:pt x="1273262" y="325448"/>
                  </a:lnTo>
                  <a:lnTo>
                    <a:pt x="1178480" y="325448"/>
                  </a:lnTo>
                  <a:lnTo>
                    <a:pt x="1178480" y="309473"/>
                  </a:lnTo>
                  <a:lnTo>
                    <a:pt x="1198715" y="307343"/>
                  </a:lnTo>
                  <a:lnTo>
                    <a:pt x="1205637" y="299356"/>
                  </a:lnTo>
                  <a:lnTo>
                    <a:pt x="1205637" y="183276"/>
                  </a:lnTo>
                  <a:cubicBezTo>
                    <a:pt x="1205637" y="167301"/>
                    <a:pt x="1202442" y="155054"/>
                    <a:pt x="1195520" y="148132"/>
                  </a:cubicBezTo>
                  <a:cubicBezTo>
                    <a:pt x="1188598" y="141210"/>
                    <a:pt x="1177416" y="138015"/>
                    <a:pt x="1161974" y="138015"/>
                  </a:cubicBezTo>
                  <a:cubicBezTo>
                    <a:pt x="1155052" y="138015"/>
                    <a:pt x="1147597" y="139080"/>
                    <a:pt x="1139610" y="141210"/>
                  </a:cubicBezTo>
                  <a:cubicBezTo>
                    <a:pt x="1131622" y="144405"/>
                    <a:pt x="1122570" y="148132"/>
                    <a:pt x="1113518" y="152392"/>
                  </a:cubicBezTo>
                  <a:lnTo>
                    <a:pt x="1113518" y="298824"/>
                  </a:lnTo>
                  <a:lnTo>
                    <a:pt x="1121505" y="306811"/>
                  </a:lnTo>
                  <a:lnTo>
                    <a:pt x="1141740" y="308941"/>
                  </a:lnTo>
                  <a:lnTo>
                    <a:pt x="1141740" y="324915"/>
                  </a:lnTo>
                  <a:lnTo>
                    <a:pt x="1045893" y="324915"/>
                  </a:lnTo>
                  <a:lnTo>
                    <a:pt x="1045893" y="308941"/>
                  </a:lnTo>
                  <a:lnTo>
                    <a:pt x="1069322" y="306811"/>
                  </a:lnTo>
                  <a:lnTo>
                    <a:pt x="1076245" y="298824"/>
                  </a:lnTo>
                  <a:lnTo>
                    <a:pt x="1076245" y="31519"/>
                  </a:lnTo>
                  <a:lnTo>
                    <a:pt x="1042698" y="31519"/>
                  </a:lnTo>
                  <a:lnTo>
                    <a:pt x="1042698" y="18207"/>
                  </a:lnTo>
                  <a:lnTo>
                    <a:pt x="1096479" y="2233"/>
                  </a:lnTo>
                  <a:close/>
                  <a:moveTo>
                    <a:pt x="913306" y="110326"/>
                  </a:moveTo>
                  <a:lnTo>
                    <a:pt x="913306" y="127365"/>
                  </a:lnTo>
                  <a:cubicBezTo>
                    <a:pt x="899994" y="127365"/>
                    <a:pt x="889877" y="131625"/>
                    <a:pt x="881889" y="141742"/>
                  </a:cubicBezTo>
                  <a:cubicBezTo>
                    <a:pt x="873902" y="150794"/>
                    <a:pt x="870707" y="164106"/>
                    <a:pt x="870707" y="181146"/>
                  </a:cubicBezTo>
                  <a:cubicBezTo>
                    <a:pt x="870707" y="197120"/>
                    <a:pt x="873902" y="210432"/>
                    <a:pt x="882954" y="219484"/>
                  </a:cubicBezTo>
                  <a:cubicBezTo>
                    <a:pt x="890941" y="229601"/>
                    <a:pt x="901059" y="234394"/>
                    <a:pt x="913306" y="234394"/>
                  </a:cubicBezTo>
                  <a:lnTo>
                    <a:pt x="913306" y="252498"/>
                  </a:lnTo>
                  <a:cubicBezTo>
                    <a:pt x="912240" y="252498"/>
                    <a:pt x="911176" y="252498"/>
                    <a:pt x="910111" y="252498"/>
                  </a:cubicBezTo>
                  <a:lnTo>
                    <a:pt x="903189" y="252498"/>
                  </a:lnTo>
                  <a:cubicBezTo>
                    <a:pt x="901059" y="255693"/>
                    <a:pt x="899994" y="258355"/>
                    <a:pt x="898929" y="261550"/>
                  </a:cubicBezTo>
                  <a:cubicBezTo>
                    <a:pt x="898929" y="264745"/>
                    <a:pt x="897864" y="268472"/>
                    <a:pt x="897864" y="271667"/>
                  </a:cubicBezTo>
                  <a:cubicBezTo>
                    <a:pt x="897864" y="272732"/>
                    <a:pt x="898929" y="274862"/>
                    <a:pt x="898929" y="278590"/>
                  </a:cubicBezTo>
                  <a:cubicBezTo>
                    <a:pt x="898929" y="280719"/>
                    <a:pt x="898929" y="281784"/>
                    <a:pt x="898929" y="281784"/>
                  </a:cubicBezTo>
                  <a:lnTo>
                    <a:pt x="913838" y="283914"/>
                  </a:lnTo>
                  <a:lnTo>
                    <a:pt x="913838" y="315331"/>
                  </a:lnTo>
                  <a:lnTo>
                    <a:pt x="896799" y="312136"/>
                  </a:lnTo>
                  <a:cubicBezTo>
                    <a:pt x="884552" y="315331"/>
                    <a:pt x="875500" y="321188"/>
                    <a:pt x="868577" y="329175"/>
                  </a:cubicBezTo>
                  <a:cubicBezTo>
                    <a:pt x="861655" y="337162"/>
                    <a:pt x="858460" y="345150"/>
                    <a:pt x="858460" y="355267"/>
                  </a:cubicBezTo>
                  <a:cubicBezTo>
                    <a:pt x="858460" y="368579"/>
                    <a:pt x="864317" y="378696"/>
                    <a:pt x="875500" y="387748"/>
                  </a:cubicBezTo>
                  <a:cubicBezTo>
                    <a:pt x="885617" y="395735"/>
                    <a:pt x="897864" y="399995"/>
                    <a:pt x="913838" y="401060"/>
                  </a:cubicBezTo>
                  <a:lnTo>
                    <a:pt x="913838" y="420229"/>
                  </a:lnTo>
                  <a:cubicBezTo>
                    <a:pt x="910643" y="420229"/>
                    <a:pt x="906916" y="420229"/>
                    <a:pt x="902656" y="420229"/>
                  </a:cubicBezTo>
                  <a:cubicBezTo>
                    <a:pt x="877629" y="420229"/>
                    <a:pt x="858993" y="415969"/>
                    <a:pt x="845148" y="405852"/>
                  </a:cubicBezTo>
                  <a:cubicBezTo>
                    <a:pt x="830771" y="395735"/>
                    <a:pt x="823849" y="382423"/>
                    <a:pt x="823849" y="364319"/>
                  </a:cubicBezTo>
                  <a:cubicBezTo>
                    <a:pt x="823849" y="351007"/>
                    <a:pt x="828109" y="338227"/>
                    <a:pt x="836096" y="329175"/>
                  </a:cubicBezTo>
                  <a:cubicBezTo>
                    <a:pt x="845148" y="319058"/>
                    <a:pt x="856330" y="312136"/>
                    <a:pt x="871240" y="310006"/>
                  </a:cubicBezTo>
                  <a:cubicBezTo>
                    <a:pt x="870175" y="306811"/>
                    <a:pt x="869110" y="303084"/>
                    <a:pt x="868045" y="299889"/>
                  </a:cubicBezTo>
                  <a:cubicBezTo>
                    <a:pt x="866980" y="296694"/>
                    <a:pt x="866980" y="292967"/>
                    <a:pt x="866980" y="289772"/>
                  </a:cubicBezTo>
                  <a:cubicBezTo>
                    <a:pt x="866980" y="285512"/>
                    <a:pt x="869110" y="278590"/>
                    <a:pt x="872837" y="271667"/>
                  </a:cubicBezTo>
                  <a:cubicBezTo>
                    <a:pt x="876032" y="264745"/>
                    <a:pt x="880824" y="257290"/>
                    <a:pt x="888812" y="249303"/>
                  </a:cubicBezTo>
                  <a:cubicBezTo>
                    <a:pt x="871772" y="245043"/>
                    <a:pt x="858460" y="237056"/>
                    <a:pt x="848343" y="225874"/>
                  </a:cubicBezTo>
                  <a:cubicBezTo>
                    <a:pt x="839291" y="213627"/>
                    <a:pt x="833966" y="199783"/>
                    <a:pt x="833966" y="183276"/>
                  </a:cubicBezTo>
                  <a:cubicBezTo>
                    <a:pt x="833966" y="161976"/>
                    <a:pt x="841953" y="143872"/>
                    <a:pt x="857395" y="130560"/>
                  </a:cubicBezTo>
                  <a:cubicBezTo>
                    <a:pt x="870175" y="117248"/>
                    <a:pt x="889344" y="110326"/>
                    <a:pt x="913306" y="110326"/>
                  </a:cubicBezTo>
                  <a:lnTo>
                    <a:pt x="913306" y="110326"/>
                  </a:lnTo>
                  <a:close/>
                  <a:moveTo>
                    <a:pt x="569856" y="325448"/>
                  </a:moveTo>
                  <a:lnTo>
                    <a:pt x="569856" y="309473"/>
                  </a:lnTo>
                  <a:lnTo>
                    <a:pt x="593285" y="307343"/>
                  </a:lnTo>
                  <a:lnTo>
                    <a:pt x="601272" y="299356"/>
                  </a:lnTo>
                  <a:lnTo>
                    <a:pt x="601272" y="141742"/>
                  </a:lnTo>
                  <a:lnTo>
                    <a:pt x="569856" y="141742"/>
                  </a:lnTo>
                  <a:lnTo>
                    <a:pt x="569856" y="127365"/>
                  </a:lnTo>
                  <a:lnTo>
                    <a:pt x="620442" y="112456"/>
                  </a:lnTo>
                  <a:lnTo>
                    <a:pt x="637481" y="112456"/>
                  </a:lnTo>
                  <a:lnTo>
                    <a:pt x="637481" y="135885"/>
                  </a:lnTo>
                  <a:cubicBezTo>
                    <a:pt x="654520" y="125768"/>
                    <a:pt x="668897" y="118846"/>
                    <a:pt x="680079" y="115651"/>
                  </a:cubicBezTo>
                  <a:cubicBezTo>
                    <a:pt x="690197" y="111391"/>
                    <a:pt x="699249" y="108729"/>
                    <a:pt x="708301" y="108729"/>
                  </a:cubicBezTo>
                  <a:cubicBezTo>
                    <a:pt x="727470" y="108729"/>
                    <a:pt x="741847" y="115651"/>
                    <a:pt x="751964" y="126833"/>
                  </a:cubicBezTo>
                  <a:cubicBezTo>
                    <a:pt x="762081" y="138015"/>
                    <a:pt x="766341" y="155054"/>
                    <a:pt x="766341" y="176354"/>
                  </a:cubicBezTo>
                  <a:lnTo>
                    <a:pt x="766341" y="298824"/>
                  </a:lnTo>
                  <a:lnTo>
                    <a:pt x="774328" y="306811"/>
                  </a:lnTo>
                  <a:lnTo>
                    <a:pt x="797757" y="308941"/>
                  </a:lnTo>
                  <a:lnTo>
                    <a:pt x="797757" y="324915"/>
                  </a:lnTo>
                  <a:lnTo>
                    <a:pt x="700846" y="324915"/>
                  </a:lnTo>
                  <a:lnTo>
                    <a:pt x="700846" y="308941"/>
                  </a:lnTo>
                  <a:lnTo>
                    <a:pt x="722145" y="306811"/>
                  </a:lnTo>
                  <a:lnTo>
                    <a:pt x="730133" y="298824"/>
                  </a:lnTo>
                  <a:lnTo>
                    <a:pt x="730133" y="182743"/>
                  </a:lnTo>
                  <a:cubicBezTo>
                    <a:pt x="730133" y="166769"/>
                    <a:pt x="726938" y="155587"/>
                    <a:pt x="720015" y="147599"/>
                  </a:cubicBezTo>
                  <a:cubicBezTo>
                    <a:pt x="713093" y="140677"/>
                    <a:pt x="701911" y="137482"/>
                    <a:pt x="684872" y="137482"/>
                  </a:cubicBezTo>
                  <a:cubicBezTo>
                    <a:pt x="677949" y="137482"/>
                    <a:pt x="671560" y="138547"/>
                    <a:pt x="662508" y="140677"/>
                  </a:cubicBezTo>
                  <a:cubicBezTo>
                    <a:pt x="654520" y="143872"/>
                    <a:pt x="645468" y="147599"/>
                    <a:pt x="636416" y="151859"/>
                  </a:cubicBezTo>
                  <a:lnTo>
                    <a:pt x="636416" y="298291"/>
                  </a:lnTo>
                  <a:lnTo>
                    <a:pt x="644403" y="306279"/>
                  </a:lnTo>
                  <a:lnTo>
                    <a:pt x="664637" y="308408"/>
                  </a:lnTo>
                  <a:lnTo>
                    <a:pt x="664637" y="324383"/>
                  </a:lnTo>
                  <a:lnTo>
                    <a:pt x="569856" y="324383"/>
                  </a:lnTo>
                  <a:lnTo>
                    <a:pt x="569856" y="325448"/>
                  </a:lnTo>
                  <a:close/>
                  <a:moveTo>
                    <a:pt x="501166" y="15012"/>
                  </a:moveTo>
                  <a:cubicBezTo>
                    <a:pt x="509153" y="15012"/>
                    <a:pt x="514478" y="17142"/>
                    <a:pt x="519270" y="22999"/>
                  </a:cubicBezTo>
                  <a:cubicBezTo>
                    <a:pt x="525128" y="27259"/>
                    <a:pt x="527258" y="33116"/>
                    <a:pt x="527258" y="41104"/>
                  </a:cubicBezTo>
                  <a:cubicBezTo>
                    <a:pt x="527258" y="48026"/>
                    <a:pt x="525128" y="53351"/>
                    <a:pt x="519270" y="58143"/>
                  </a:cubicBezTo>
                  <a:cubicBezTo>
                    <a:pt x="515011" y="64000"/>
                    <a:pt x="509153" y="66130"/>
                    <a:pt x="501166" y="66130"/>
                  </a:cubicBezTo>
                  <a:cubicBezTo>
                    <a:pt x="494244" y="66130"/>
                    <a:pt x="488919" y="64000"/>
                    <a:pt x="484127" y="58143"/>
                  </a:cubicBezTo>
                  <a:cubicBezTo>
                    <a:pt x="478270" y="53883"/>
                    <a:pt x="476140" y="48026"/>
                    <a:pt x="476140" y="41104"/>
                  </a:cubicBezTo>
                  <a:cubicBezTo>
                    <a:pt x="476140" y="33116"/>
                    <a:pt x="478270" y="27792"/>
                    <a:pt x="484127" y="22999"/>
                  </a:cubicBezTo>
                  <a:cubicBezTo>
                    <a:pt x="488919" y="17142"/>
                    <a:pt x="494244" y="15012"/>
                    <a:pt x="501166" y="15012"/>
                  </a:cubicBezTo>
                  <a:lnTo>
                    <a:pt x="501166" y="15012"/>
                  </a:lnTo>
                  <a:close/>
                  <a:moveTo>
                    <a:pt x="500101" y="112988"/>
                  </a:moveTo>
                  <a:lnTo>
                    <a:pt x="517141" y="112988"/>
                  </a:lnTo>
                  <a:lnTo>
                    <a:pt x="517141" y="299889"/>
                  </a:lnTo>
                  <a:lnTo>
                    <a:pt x="525128" y="307876"/>
                  </a:lnTo>
                  <a:lnTo>
                    <a:pt x="547492" y="310006"/>
                  </a:lnTo>
                  <a:lnTo>
                    <a:pt x="547492" y="325980"/>
                  </a:lnTo>
                  <a:lnTo>
                    <a:pt x="449516" y="325980"/>
                  </a:lnTo>
                  <a:lnTo>
                    <a:pt x="449516" y="310006"/>
                  </a:lnTo>
                  <a:lnTo>
                    <a:pt x="472945" y="307876"/>
                  </a:lnTo>
                  <a:lnTo>
                    <a:pt x="479867" y="299889"/>
                  </a:lnTo>
                  <a:lnTo>
                    <a:pt x="479867" y="142275"/>
                  </a:lnTo>
                  <a:lnTo>
                    <a:pt x="449516" y="142275"/>
                  </a:lnTo>
                  <a:lnTo>
                    <a:pt x="449516" y="127365"/>
                  </a:lnTo>
                  <a:lnTo>
                    <a:pt x="500101" y="112988"/>
                  </a:lnTo>
                  <a:lnTo>
                    <a:pt x="500101" y="112988"/>
                  </a:lnTo>
                  <a:close/>
                  <a:moveTo>
                    <a:pt x="410112" y="119378"/>
                  </a:moveTo>
                  <a:lnTo>
                    <a:pt x="410112" y="168899"/>
                  </a:lnTo>
                  <a:lnTo>
                    <a:pt x="388813" y="168899"/>
                  </a:lnTo>
                  <a:lnTo>
                    <a:pt x="384553" y="138547"/>
                  </a:lnTo>
                  <a:cubicBezTo>
                    <a:pt x="378696" y="135353"/>
                    <a:pt x="373371" y="132690"/>
                    <a:pt x="368579" y="130560"/>
                  </a:cubicBezTo>
                  <a:cubicBezTo>
                    <a:pt x="362721" y="129495"/>
                    <a:pt x="357397" y="128430"/>
                    <a:pt x="352604" y="128430"/>
                  </a:cubicBezTo>
                  <a:cubicBezTo>
                    <a:pt x="340357" y="128430"/>
                    <a:pt x="332370" y="131625"/>
                    <a:pt x="325448" y="137482"/>
                  </a:cubicBezTo>
                  <a:cubicBezTo>
                    <a:pt x="318526" y="143340"/>
                    <a:pt x="315331" y="149730"/>
                    <a:pt x="315331" y="159847"/>
                  </a:cubicBezTo>
                  <a:cubicBezTo>
                    <a:pt x="315331" y="168899"/>
                    <a:pt x="318526" y="175821"/>
                    <a:pt x="323318" y="181146"/>
                  </a:cubicBezTo>
                  <a:cubicBezTo>
                    <a:pt x="329175" y="187003"/>
                    <a:pt x="337695" y="192328"/>
                    <a:pt x="352604" y="200315"/>
                  </a:cubicBezTo>
                  <a:cubicBezTo>
                    <a:pt x="354734" y="201380"/>
                    <a:pt x="358462" y="202445"/>
                    <a:pt x="363786" y="204575"/>
                  </a:cubicBezTo>
                  <a:cubicBezTo>
                    <a:pt x="379761" y="212562"/>
                    <a:pt x="392008" y="218952"/>
                    <a:pt x="399995" y="224809"/>
                  </a:cubicBezTo>
                  <a:cubicBezTo>
                    <a:pt x="404255" y="229069"/>
                    <a:pt x="409047" y="234926"/>
                    <a:pt x="412242" y="241848"/>
                  </a:cubicBezTo>
                  <a:cubicBezTo>
                    <a:pt x="414372" y="247706"/>
                    <a:pt x="415437" y="255160"/>
                    <a:pt x="415437" y="263148"/>
                  </a:cubicBezTo>
                  <a:cubicBezTo>
                    <a:pt x="415437" y="283382"/>
                    <a:pt x="408515" y="299356"/>
                    <a:pt x="394138" y="311603"/>
                  </a:cubicBezTo>
                  <a:cubicBezTo>
                    <a:pt x="379761" y="322785"/>
                    <a:pt x="358994" y="328643"/>
                    <a:pt x="334500" y="328643"/>
                  </a:cubicBezTo>
                  <a:cubicBezTo>
                    <a:pt x="323318" y="328643"/>
                    <a:pt x="313201" y="327578"/>
                    <a:pt x="304149" y="326513"/>
                  </a:cubicBezTo>
                  <a:cubicBezTo>
                    <a:pt x="294031" y="325448"/>
                    <a:pt x="284979" y="323318"/>
                    <a:pt x="276992" y="319591"/>
                  </a:cubicBezTo>
                  <a:lnTo>
                    <a:pt x="276992" y="262083"/>
                  </a:lnTo>
                  <a:lnTo>
                    <a:pt x="298291" y="262083"/>
                  </a:lnTo>
                  <a:lnTo>
                    <a:pt x="302551" y="299356"/>
                  </a:lnTo>
                  <a:cubicBezTo>
                    <a:pt x="309473" y="303616"/>
                    <a:pt x="314798" y="306279"/>
                    <a:pt x="321720" y="307343"/>
                  </a:cubicBezTo>
                  <a:cubicBezTo>
                    <a:pt x="327578" y="309473"/>
                    <a:pt x="333967" y="310538"/>
                    <a:pt x="340890" y="310538"/>
                  </a:cubicBezTo>
                  <a:cubicBezTo>
                    <a:pt x="353137" y="310538"/>
                    <a:pt x="362189" y="307343"/>
                    <a:pt x="370176" y="300421"/>
                  </a:cubicBezTo>
                  <a:cubicBezTo>
                    <a:pt x="378163" y="293499"/>
                    <a:pt x="381358" y="285512"/>
                    <a:pt x="381358" y="274330"/>
                  </a:cubicBezTo>
                  <a:cubicBezTo>
                    <a:pt x="381358" y="265278"/>
                    <a:pt x="379228" y="258355"/>
                    <a:pt x="373371" y="253031"/>
                  </a:cubicBezTo>
                  <a:cubicBezTo>
                    <a:pt x="369111" y="247173"/>
                    <a:pt x="356332" y="239719"/>
                    <a:pt x="336097" y="230666"/>
                  </a:cubicBezTo>
                  <a:cubicBezTo>
                    <a:pt x="314798" y="221614"/>
                    <a:pt x="299889" y="211497"/>
                    <a:pt x="292434" y="203510"/>
                  </a:cubicBezTo>
                  <a:cubicBezTo>
                    <a:pt x="284447" y="194458"/>
                    <a:pt x="280187" y="183276"/>
                    <a:pt x="280187" y="171029"/>
                  </a:cubicBezTo>
                  <a:cubicBezTo>
                    <a:pt x="280187" y="151859"/>
                    <a:pt x="287109" y="135885"/>
                    <a:pt x="300421" y="125768"/>
                  </a:cubicBezTo>
                  <a:cubicBezTo>
                    <a:pt x="313733" y="114586"/>
                    <a:pt x="332902" y="108729"/>
                    <a:pt x="357929" y="108729"/>
                  </a:cubicBezTo>
                  <a:cubicBezTo>
                    <a:pt x="368046" y="108729"/>
                    <a:pt x="377098" y="109794"/>
                    <a:pt x="386150" y="111923"/>
                  </a:cubicBezTo>
                  <a:cubicBezTo>
                    <a:pt x="394138" y="114053"/>
                    <a:pt x="402125" y="116183"/>
                    <a:pt x="410112" y="119378"/>
                  </a:cubicBezTo>
                  <a:lnTo>
                    <a:pt x="410112" y="119378"/>
                  </a:lnTo>
                  <a:close/>
                  <a:moveTo>
                    <a:pt x="3297" y="31519"/>
                  </a:moveTo>
                  <a:lnTo>
                    <a:pt x="250901" y="31519"/>
                  </a:lnTo>
                  <a:lnTo>
                    <a:pt x="250901" y="98079"/>
                  </a:lnTo>
                  <a:lnTo>
                    <a:pt x="227471" y="98079"/>
                  </a:lnTo>
                  <a:lnTo>
                    <a:pt x="221614" y="57610"/>
                  </a:lnTo>
                  <a:lnTo>
                    <a:pt x="214692" y="50688"/>
                  </a:lnTo>
                  <a:lnTo>
                    <a:pt x="148132" y="50688"/>
                  </a:lnTo>
                  <a:lnTo>
                    <a:pt x="148132" y="298291"/>
                  </a:lnTo>
                  <a:lnTo>
                    <a:pt x="155054" y="305214"/>
                  </a:lnTo>
                  <a:lnTo>
                    <a:pt x="184341" y="307343"/>
                  </a:lnTo>
                  <a:lnTo>
                    <a:pt x="184341" y="325448"/>
                  </a:lnTo>
                  <a:lnTo>
                    <a:pt x="70390" y="325448"/>
                  </a:lnTo>
                  <a:lnTo>
                    <a:pt x="70390" y="307343"/>
                  </a:lnTo>
                  <a:lnTo>
                    <a:pt x="99676" y="305214"/>
                  </a:lnTo>
                  <a:lnTo>
                    <a:pt x="106598" y="298291"/>
                  </a:lnTo>
                  <a:lnTo>
                    <a:pt x="106598" y="50688"/>
                  </a:lnTo>
                  <a:lnTo>
                    <a:pt x="40039" y="50688"/>
                  </a:lnTo>
                  <a:lnTo>
                    <a:pt x="33116" y="57610"/>
                  </a:lnTo>
                  <a:lnTo>
                    <a:pt x="27259" y="98079"/>
                  </a:lnTo>
                  <a:lnTo>
                    <a:pt x="2233" y="98079"/>
                  </a:lnTo>
                  <a:lnTo>
                    <a:pt x="2233" y="31519"/>
                  </a:ln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微软雅黑" panose="020B0503020204020204" charset="-122"/>
                <a:cs typeface="+mn-cs"/>
              </a:endParaRPr>
            </a:p>
          </p:txBody>
        </p:sp>
        <p:pic>
          <p:nvPicPr>
            <p:cNvPr id="47" name="图片 4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85028" y="2913592"/>
              <a:ext cx="1584000" cy="1584000"/>
            </a:xfrm>
            <a:prstGeom prst="rect">
              <a:avLst/>
            </a:prstGeom>
          </p:spPr>
        </p:pic>
      </p:grpSp>
      <p:sp>
        <p:nvSpPr>
          <p:cNvPr id="8" name="灯片编号占位符 7">
            <a:extLst>
              <a:ext uri="{FF2B5EF4-FFF2-40B4-BE49-F238E27FC236}">
                <a16:creationId xmlns:a16="http://schemas.microsoft.com/office/drawing/2014/main" id="{926A4764-3523-4A44-A95C-126BDA75EABC}"/>
              </a:ext>
            </a:extLst>
          </p:cNvPr>
          <p:cNvSpPr>
            <a:spLocks noGrp="1"/>
          </p:cNvSpPr>
          <p:nvPr>
            <p:ph type="sldNum" sz="quarter" idx="12"/>
          </p:nvPr>
        </p:nvSpPr>
        <p:spPr/>
        <p:txBody>
          <a:bodyPr/>
          <a:lstStyle/>
          <a:p>
            <a:fld id="{565CE74E-AB26-4998-AD42-012C4C1AD076}" type="slidenum">
              <a:rPr lang="zh-CN" altLang="en-US" smtClean="0"/>
              <a:t>2</a:t>
            </a:fld>
            <a:endParaRPr lang="zh-CN" altLang="en-US"/>
          </a:p>
        </p:txBody>
      </p:sp>
    </p:spTree>
    <p:custDataLst>
      <p:tags r:id="rId1"/>
    </p:custDataLst>
  </p:cSld>
  <p:clrMapOvr>
    <a:masterClrMapping/>
  </p:clrMapOvr>
  <p:transition spd="slow" advTm="2589">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wipe(left)">
                                      <p:cBhvr>
                                        <p:cTn id="7" dur="500"/>
                                        <p:tgtEl>
                                          <p:spTgt spid="39"/>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1000"/>
                                        <p:tgtEl>
                                          <p:spTgt spid="7"/>
                                        </p:tgtEl>
                                      </p:cBhvr>
                                    </p:animEffect>
                                    <p:anim calcmode="lin" valueType="num">
                                      <p:cBhvr>
                                        <p:cTn id="11" dur="1000" fill="hold"/>
                                        <p:tgtEl>
                                          <p:spTgt spid="7"/>
                                        </p:tgtEl>
                                        <p:attrNameLst>
                                          <p:attrName>ppt_x</p:attrName>
                                        </p:attrNameLst>
                                      </p:cBhvr>
                                      <p:tavLst>
                                        <p:tav tm="0">
                                          <p:val>
                                            <p:strVal val="#ppt_x"/>
                                          </p:val>
                                        </p:tav>
                                        <p:tav tm="100000">
                                          <p:val>
                                            <p:strVal val="#ppt_x"/>
                                          </p:val>
                                        </p:tav>
                                      </p:tavLst>
                                    </p:anim>
                                    <p:anim calcmode="lin" valueType="num">
                                      <p:cBhvr>
                                        <p:cTn id="12" dur="1000" fill="hold"/>
                                        <p:tgtEl>
                                          <p:spTgt spid="7"/>
                                        </p:tgtEl>
                                        <p:attrNameLst>
                                          <p:attrName>ppt_y</p:attrName>
                                        </p:attrNameLst>
                                      </p:cBhvr>
                                      <p:tavLst>
                                        <p:tav tm="0">
                                          <p:val>
                                            <p:strVal val="#ppt_y+.1"/>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500" fill="hold"/>
                                        <p:tgtEl>
                                          <p:spTgt spid="16"/>
                                        </p:tgtEl>
                                        <p:attrNameLst>
                                          <p:attrName>ppt_x</p:attrName>
                                        </p:attrNameLst>
                                      </p:cBhvr>
                                      <p:tavLst>
                                        <p:tav tm="0">
                                          <p:val>
                                            <p:strVal val="0-#ppt_w/2"/>
                                          </p:val>
                                        </p:tav>
                                        <p:tav tm="100000">
                                          <p:val>
                                            <p:strVal val="#ppt_x"/>
                                          </p:val>
                                        </p:tav>
                                      </p:tavLst>
                                    </p:anim>
                                    <p:anim calcmode="lin" valueType="num">
                                      <p:cBhvr additive="base">
                                        <p:cTn id="16" dur="500" fill="hold"/>
                                        <p:tgtEl>
                                          <p:spTgt spid="16"/>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500" fill="hold"/>
                                        <p:tgtEl>
                                          <p:spTgt spid="24"/>
                                        </p:tgtEl>
                                        <p:attrNameLst>
                                          <p:attrName>ppt_x</p:attrName>
                                        </p:attrNameLst>
                                      </p:cBhvr>
                                      <p:tavLst>
                                        <p:tav tm="0">
                                          <p:val>
                                            <p:strVal val="1+#ppt_w/2"/>
                                          </p:val>
                                        </p:tav>
                                        <p:tav tm="100000">
                                          <p:val>
                                            <p:strVal val="#ppt_x"/>
                                          </p:val>
                                        </p:tav>
                                      </p:tavLst>
                                    </p:anim>
                                    <p:anim calcmode="lin" valueType="num">
                                      <p:cBhvr additive="base">
                                        <p:cTn id="20" dur="500" fill="hold"/>
                                        <p:tgtEl>
                                          <p:spTgt spid="24"/>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500" fill="hold"/>
                                        <p:tgtEl>
                                          <p:spTgt spid="17"/>
                                        </p:tgtEl>
                                        <p:attrNameLst>
                                          <p:attrName>ppt_x</p:attrName>
                                        </p:attrNameLst>
                                      </p:cBhvr>
                                      <p:tavLst>
                                        <p:tav tm="0">
                                          <p:val>
                                            <p:strVal val="0-#ppt_w/2"/>
                                          </p:val>
                                        </p:tav>
                                        <p:tav tm="100000">
                                          <p:val>
                                            <p:strVal val="#ppt_x"/>
                                          </p:val>
                                        </p:tav>
                                      </p:tavLst>
                                    </p:anim>
                                    <p:anim calcmode="lin" valueType="num">
                                      <p:cBhvr additive="base">
                                        <p:cTn id="24" dur="5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2"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anim calcmode="lin" valueType="num">
                                      <p:cBhvr additive="base">
                                        <p:cTn id="27" dur="500" fill="hold"/>
                                        <p:tgtEl>
                                          <p:spTgt spid="31"/>
                                        </p:tgtEl>
                                        <p:attrNameLst>
                                          <p:attrName>ppt_x</p:attrName>
                                        </p:attrNameLst>
                                      </p:cBhvr>
                                      <p:tavLst>
                                        <p:tav tm="0">
                                          <p:val>
                                            <p:strVal val="1+#ppt_w/2"/>
                                          </p:val>
                                        </p:tav>
                                        <p:tav tm="100000">
                                          <p:val>
                                            <p:strVal val="#ppt_x"/>
                                          </p:val>
                                        </p:tav>
                                      </p:tavLst>
                                    </p:anim>
                                    <p:anim calcmode="lin" valueType="num">
                                      <p:cBhvr additive="base">
                                        <p:cTn id="28" dur="500" fill="hold"/>
                                        <p:tgtEl>
                                          <p:spTgt spid="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1665"/>
          </a:xfrm>
          <a:prstGeom prst="rect">
            <a:avLst/>
          </a:prstGeom>
          <a:noFill/>
        </p:spPr>
        <p:txBody>
          <a:bodyPr wrap="square">
            <a:spAutoFit/>
          </a:bodyPr>
          <a:lstStyle/>
          <a:p>
            <a:pPr lvl="0">
              <a:defRPr/>
            </a:pPr>
            <a:r>
              <a:rPr lang="en-US" altLang="zh-CN" sz="2400" dirty="0">
                <a:solidFill>
                  <a:prstClr val="white"/>
                </a:solidFill>
              </a:rPr>
              <a:t>4.1 </a:t>
            </a:r>
            <a:r>
              <a:rPr lang="zh-CN" altLang="en-US" sz="2400" dirty="0">
                <a:solidFill>
                  <a:prstClr val="white"/>
                </a:solidFill>
              </a:rPr>
              <a:t>执行机构运动与动力设计</a:t>
            </a:r>
            <a:endPar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4">
              <a:biLevel thresh="25000"/>
            </a:blip>
            <a:srcRect l="30188"/>
            <a:stretch>
              <a:fillRect/>
            </a:stretch>
          </p:blipFill>
          <p:spPr>
            <a:xfrm>
              <a:off x="10483399" y="211219"/>
              <a:ext cx="1621585" cy="701101"/>
            </a:xfrm>
            <a:prstGeom prst="rect">
              <a:avLst/>
            </a:prstGeom>
          </p:spPr>
        </p:pic>
      </p:grpSp>
      <p:pic>
        <p:nvPicPr>
          <p:cNvPr id="68" name="图片占位符 30"/>
          <p:cNvPicPr>
            <a:picLocks noChangeAspect="1"/>
          </p:cNvPicPr>
          <p:nvPr/>
        </p:nvPicPr>
        <p:blipFill>
          <a:blip r:embed="rId5">
            <a:extLst>
              <a:ext uri="{28A0092B-C50C-407E-A947-70E740481C1C}">
                <a14:useLocalDpi xmlns:a14="http://schemas.microsoft.com/office/drawing/2010/main" val="0"/>
              </a:ext>
            </a:extLst>
          </a:blip>
          <a:srcRect l="11989" r="11989"/>
          <a:stretch/>
        </p:blipFill>
        <p:spPr>
          <a:xfrm>
            <a:off x="4374935" y="2301597"/>
            <a:ext cx="3442133" cy="3692525"/>
          </a:xfrm>
          <a:prstGeom prst="rect">
            <a:avLst/>
          </a:prstGeom>
        </p:spPr>
      </p:pic>
      <p:sp>
        <p:nvSpPr>
          <p:cNvPr id="81" name="流程图: 过程 80"/>
          <p:cNvSpPr/>
          <p:nvPr/>
        </p:nvSpPr>
        <p:spPr>
          <a:xfrm>
            <a:off x="695325" y="2301597"/>
            <a:ext cx="3442133" cy="3692525"/>
          </a:xfrm>
          <a:prstGeom prst="flowChartProcess">
            <a:avLst/>
          </a:prstGeom>
          <a:solidFill>
            <a:schemeClr val="bg1"/>
          </a:solidFill>
          <a:ln w="19050">
            <a:solidFill>
              <a:srgbClr val="7038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流程图: 过程 81"/>
          <p:cNvSpPr/>
          <p:nvPr/>
        </p:nvSpPr>
        <p:spPr>
          <a:xfrm>
            <a:off x="8054542" y="2301597"/>
            <a:ext cx="3442133" cy="3692525"/>
          </a:xfrm>
          <a:prstGeom prst="flowChartProcess">
            <a:avLst/>
          </a:prstGeom>
          <a:solidFill>
            <a:schemeClr val="bg1"/>
          </a:solidFill>
          <a:ln w="19050">
            <a:solidFill>
              <a:srgbClr val="7038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矩形 82"/>
          <p:cNvSpPr/>
          <p:nvPr/>
        </p:nvSpPr>
        <p:spPr>
          <a:xfrm>
            <a:off x="695325" y="1247261"/>
            <a:ext cx="10801350" cy="728533"/>
          </a:xfrm>
          <a:prstGeom prst="rect">
            <a:avLst/>
          </a:prstGeom>
        </p:spPr>
        <p:txBody>
          <a:bodyPr wrap="square">
            <a:spAutoFit/>
          </a:bodyPr>
          <a:lstStyle/>
          <a:p>
            <a:pPr algn="just">
              <a:lnSpc>
                <a:spcPct val="120000"/>
              </a:lnSpc>
            </a:pPr>
            <a:r>
              <a:rPr lang="zh-CN" altLang="en-US" dirty="0">
                <a:solidFill>
                  <a:schemeClr val="tx1">
                    <a:lumMod val="50000"/>
                    <a:lumOff val="50000"/>
                  </a:schemeClr>
                </a:solidFill>
              </a:rPr>
              <a:t>本示意图主要展示了卫星公转的实现机构，整体设计思路为串联机构运动，其动力驱动为直线电机</a:t>
            </a:r>
            <a:r>
              <a:rPr lang="en-US" altLang="zh-CN" dirty="0">
                <a:solidFill>
                  <a:schemeClr val="tx1">
                    <a:lumMod val="50000"/>
                    <a:lumOff val="50000"/>
                  </a:schemeClr>
                </a:solidFill>
              </a:rPr>
              <a:t>+</a:t>
            </a:r>
            <a:r>
              <a:rPr lang="zh-CN" altLang="en-US" dirty="0">
                <a:solidFill>
                  <a:schemeClr val="tx1">
                    <a:lumMod val="50000"/>
                    <a:lumOff val="50000"/>
                  </a:schemeClr>
                </a:solidFill>
              </a:rPr>
              <a:t>舵机方案，并配有导电滑环实现接线。</a:t>
            </a:r>
          </a:p>
        </p:txBody>
      </p:sp>
      <p:grpSp>
        <p:nvGrpSpPr>
          <p:cNvPr id="84" name="组合 83"/>
          <p:cNvGrpSpPr/>
          <p:nvPr/>
        </p:nvGrpSpPr>
        <p:grpSpPr>
          <a:xfrm>
            <a:off x="1117125" y="2479986"/>
            <a:ext cx="2598532" cy="3250610"/>
            <a:chOff x="1117125" y="2661240"/>
            <a:chExt cx="2598532" cy="3250610"/>
          </a:xfrm>
        </p:grpSpPr>
        <p:sp>
          <p:nvSpPr>
            <p:cNvPr id="85" name="矩形 84"/>
            <p:cNvSpPr/>
            <p:nvPr/>
          </p:nvSpPr>
          <p:spPr>
            <a:xfrm>
              <a:off x="1482941" y="5435600"/>
              <a:ext cx="1866900" cy="476250"/>
            </a:xfrm>
            <a:prstGeom prst="rect">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6" name="组合 85"/>
            <p:cNvGrpSpPr/>
            <p:nvPr/>
          </p:nvGrpSpPr>
          <p:grpSpPr>
            <a:xfrm>
              <a:off x="1117125" y="3449934"/>
              <a:ext cx="2598532" cy="1737617"/>
              <a:chOff x="1246229" y="4819113"/>
              <a:chExt cx="2598532" cy="1737617"/>
            </a:xfrm>
          </p:grpSpPr>
          <p:sp>
            <p:nvSpPr>
              <p:cNvPr id="89" name="矩形 88"/>
              <p:cNvSpPr/>
              <p:nvPr/>
            </p:nvSpPr>
            <p:spPr>
              <a:xfrm>
                <a:off x="1246229" y="5307990"/>
                <a:ext cx="2598532" cy="1248740"/>
              </a:xfrm>
              <a:prstGeom prst="rect">
                <a:avLst/>
              </a:prstGeom>
            </p:spPr>
            <p:txBody>
              <a:bodyPr wrap="square">
                <a:spAutoFit/>
              </a:bodyPr>
              <a:lstStyle/>
              <a:p>
                <a:pPr algn="ctr">
                  <a:lnSpc>
                    <a:spcPct val="120000"/>
                  </a:lnSpc>
                </a:pPr>
                <a:r>
                  <a:rPr lang="zh-CN" altLang="en-US" sz="1600" dirty="0">
                    <a:solidFill>
                      <a:schemeClr val="tx1">
                        <a:lumMod val="50000"/>
                        <a:lumOff val="50000"/>
                      </a:schemeClr>
                    </a:solidFill>
                  </a:rPr>
                  <a:t>直线电机满足了大行程运动的要求，并且具有成本低廉，控制简单，鲁棒性高等特点。</a:t>
                </a:r>
              </a:p>
            </p:txBody>
          </p:sp>
          <p:sp>
            <p:nvSpPr>
              <p:cNvPr id="90" name="矩形 89"/>
              <p:cNvSpPr/>
              <p:nvPr/>
            </p:nvSpPr>
            <p:spPr>
              <a:xfrm>
                <a:off x="1424508" y="4819113"/>
                <a:ext cx="2241974" cy="401264"/>
              </a:xfrm>
              <a:prstGeom prst="rect">
                <a:avLst/>
              </a:prstGeom>
            </p:spPr>
            <p:txBody>
              <a:bodyPr wrap="square">
                <a:spAutoFit/>
              </a:bodyPr>
              <a:lstStyle/>
              <a:p>
                <a:pPr algn="ctr">
                  <a:lnSpc>
                    <a:spcPct val="120000"/>
                  </a:lnSpc>
                </a:pPr>
                <a:r>
                  <a:rPr lang="zh-CN" altLang="en-US" b="1" dirty="0">
                    <a:solidFill>
                      <a:schemeClr val="tx1">
                        <a:lumMod val="65000"/>
                        <a:lumOff val="35000"/>
                      </a:schemeClr>
                    </a:solidFill>
                  </a:rPr>
                  <a:t>直线电机</a:t>
                </a:r>
              </a:p>
            </p:txBody>
          </p:sp>
        </p:grpSp>
        <p:sp>
          <p:nvSpPr>
            <p:cNvPr id="87" name="文本框 86"/>
            <p:cNvSpPr txBox="1"/>
            <p:nvPr/>
          </p:nvSpPr>
          <p:spPr>
            <a:xfrm>
              <a:off x="1811103" y="2661240"/>
              <a:ext cx="1210588" cy="707886"/>
            </a:xfrm>
            <a:prstGeom prst="rect">
              <a:avLst/>
            </a:prstGeom>
            <a:noFill/>
          </p:spPr>
          <p:txBody>
            <a:bodyPr wrap="none" rtlCol="0">
              <a:spAutoFit/>
            </a:bodyPr>
            <a:lstStyle/>
            <a:p>
              <a:pPr algn="ctr"/>
              <a:r>
                <a:rPr lang="zh-CN" altLang="en-US" sz="4000" b="1" dirty="0">
                  <a:solidFill>
                    <a:srgbClr val="703881"/>
                  </a:solidFill>
                  <a:latin typeface="Times New Roman" panose="02020603050405020304" pitchFamily="18" charset="0"/>
                  <a:cs typeface="Times New Roman" panose="02020603050405020304" pitchFamily="18" charset="0"/>
                </a:rPr>
                <a:t>驱动</a:t>
              </a:r>
            </a:p>
          </p:txBody>
        </p:sp>
        <p:sp>
          <p:nvSpPr>
            <p:cNvPr id="88" name="文本框 87"/>
            <p:cNvSpPr txBox="1"/>
            <p:nvPr/>
          </p:nvSpPr>
          <p:spPr>
            <a:xfrm>
              <a:off x="1913690" y="5503472"/>
              <a:ext cx="1005403" cy="338554"/>
            </a:xfrm>
            <a:prstGeom prst="rect">
              <a:avLst/>
            </a:prstGeom>
            <a:noFill/>
          </p:spPr>
          <p:txBody>
            <a:bodyPr wrap="none" rtlCol="0">
              <a:spAutoFit/>
            </a:bodyPr>
            <a:lstStyle/>
            <a:p>
              <a:pPr algn="ctr"/>
              <a:r>
                <a:rPr lang="zh-CN" altLang="en-US" sz="1600" dirty="0">
                  <a:solidFill>
                    <a:schemeClr val="bg1"/>
                  </a:solidFill>
                </a:rPr>
                <a:t>公转机构</a:t>
              </a:r>
            </a:p>
          </p:txBody>
        </p:sp>
      </p:grpSp>
      <p:grpSp>
        <p:nvGrpSpPr>
          <p:cNvPr id="98" name="组合 97"/>
          <p:cNvGrpSpPr/>
          <p:nvPr/>
        </p:nvGrpSpPr>
        <p:grpSpPr>
          <a:xfrm>
            <a:off x="8476342" y="2479986"/>
            <a:ext cx="2598532" cy="3250610"/>
            <a:chOff x="8476342" y="2661240"/>
            <a:chExt cx="2598532" cy="3250610"/>
          </a:xfrm>
        </p:grpSpPr>
        <p:sp>
          <p:nvSpPr>
            <p:cNvPr id="99" name="矩形 98"/>
            <p:cNvSpPr/>
            <p:nvPr/>
          </p:nvSpPr>
          <p:spPr>
            <a:xfrm>
              <a:off x="8842158" y="5435600"/>
              <a:ext cx="1866900" cy="476250"/>
            </a:xfrm>
            <a:prstGeom prst="rect">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0" name="组合 99"/>
            <p:cNvGrpSpPr/>
            <p:nvPr/>
          </p:nvGrpSpPr>
          <p:grpSpPr>
            <a:xfrm>
              <a:off x="8476342" y="3449934"/>
              <a:ext cx="2598532" cy="1440420"/>
              <a:chOff x="1246229" y="4819113"/>
              <a:chExt cx="2598532" cy="1440420"/>
            </a:xfrm>
          </p:grpSpPr>
          <p:sp>
            <p:nvSpPr>
              <p:cNvPr id="103" name="矩形 102"/>
              <p:cNvSpPr/>
              <p:nvPr/>
            </p:nvSpPr>
            <p:spPr>
              <a:xfrm>
                <a:off x="1246229" y="5307990"/>
                <a:ext cx="2598532" cy="951543"/>
              </a:xfrm>
              <a:prstGeom prst="rect">
                <a:avLst/>
              </a:prstGeom>
            </p:spPr>
            <p:txBody>
              <a:bodyPr wrap="square">
                <a:spAutoFit/>
              </a:bodyPr>
              <a:lstStyle/>
              <a:p>
                <a:pPr algn="ctr">
                  <a:lnSpc>
                    <a:spcPct val="120000"/>
                  </a:lnSpc>
                </a:pPr>
                <a:r>
                  <a:rPr lang="zh-CN" altLang="en-US" sz="1600" dirty="0">
                    <a:solidFill>
                      <a:schemeClr val="tx1">
                        <a:lumMod val="50000"/>
                        <a:lumOff val="50000"/>
                      </a:schemeClr>
                    </a:solidFill>
                  </a:rPr>
                  <a:t>导电滑环满足了圆周运动下的接线问题，有效地避免了缠线。</a:t>
                </a:r>
              </a:p>
            </p:txBody>
          </p:sp>
          <p:sp>
            <p:nvSpPr>
              <p:cNvPr id="104" name="矩形 103"/>
              <p:cNvSpPr/>
              <p:nvPr/>
            </p:nvSpPr>
            <p:spPr>
              <a:xfrm>
                <a:off x="1424508" y="4819113"/>
                <a:ext cx="2241974" cy="401264"/>
              </a:xfrm>
              <a:prstGeom prst="rect">
                <a:avLst/>
              </a:prstGeom>
            </p:spPr>
            <p:txBody>
              <a:bodyPr wrap="square">
                <a:spAutoFit/>
              </a:bodyPr>
              <a:lstStyle/>
              <a:p>
                <a:pPr algn="ctr">
                  <a:lnSpc>
                    <a:spcPct val="120000"/>
                  </a:lnSpc>
                </a:pPr>
                <a:r>
                  <a:rPr lang="zh-CN" altLang="en-US" b="1" dirty="0">
                    <a:solidFill>
                      <a:schemeClr val="tx1">
                        <a:lumMod val="65000"/>
                        <a:lumOff val="35000"/>
                      </a:schemeClr>
                    </a:solidFill>
                  </a:rPr>
                  <a:t>导电滑环</a:t>
                </a:r>
              </a:p>
            </p:txBody>
          </p:sp>
        </p:grpSp>
        <p:sp>
          <p:nvSpPr>
            <p:cNvPr id="101" name="文本框 100"/>
            <p:cNvSpPr txBox="1"/>
            <p:nvPr/>
          </p:nvSpPr>
          <p:spPr>
            <a:xfrm>
              <a:off x="9170316" y="2661240"/>
              <a:ext cx="1210588" cy="707886"/>
            </a:xfrm>
            <a:prstGeom prst="rect">
              <a:avLst/>
            </a:prstGeom>
            <a:noFill/>
          </p:spPr>
          <p:txBody>
            <a:bodyPr wrap="none" rtlCol="0">
              <a:spAutoFit/>
            </a:bodyPr>
            <a:lstStyle/>
            <a:p>
              <a:pPr algn="ctr"/>
              <a:r>
                <a:rPr lang="zh-CN" altLang="en-US" sz="4000" b="1" dirty="0">
                  <a:solidFill>
                    <a:srgbClr val="703881"/>
                  </a:solidFill>
                  <a:latin typeface="Times New Roman" panose="02020603050405020304" pitchFamily="18" charset="0"/>
                  <a:cs typeface="Times New Roman" panose="02020603050405020304" pitchFamily="18" charset="0"/>
                </a:rPr>
                <a:t>接线</a:t>
              </a:r>
            </a:p>
          </p:txBody>
        </p:sp>
        <p:sp>
          <p:nvSpPr>
            <p:cNvPr id="102" name="文本框 101"/>
            <p:cNvSpPr txBox="1"/>
            <p:nvPr/>
          </p:nvSpPr>
          <p:spPr>
            <a:xfrm>
              <a:off x="9272909" y="5503472"/>
              <a:ext cx="1005403" cy="338554"/>
            </a:xfrm>
            <a:prstGeom prst="rect">
              <a:avLst/>
            </a:prstGeom>
            <a:noFill/>
          </p:spPr>
          <p:txBody>
            <a:bodyPr wrap="none" rtlCol="0">
              <a:spAutoFit/>
            </a:bodyPr>
            <a:lstStyle/>
            <a:p>
              <a:pPr algn="ctr"/>
              <a:r>
                <a:rPr lang="zh-CN" altLang="en-US" sz="1600" dirty="0">
                  <a:solidFill>
                    <a:schemeClr val="bg1"/>
                  </a:solidFill>
                </a:rPr>
                <a:t>公转机构</a:t>
              </a:r>
            </a:p>
          </p:txBody>
        </p:sp>
      </p:grpSp>
      <p:sp>
        <p:nvSpPr>
          <p:cNvPr id="3" name="灯片编号占位符 2">
            <a:extLst>
              <a:ext uri="{FF2B5EF4-FFF2-40B4-BE49-F238E27FC236}">
                <a16:creationId xmlns:a16="http://schemas.microsoft.com/office/drawing/2014/main" id="{020C30BC-1577-42D5-83A8-6EAAF3A2B3AE}"/>
              </a:ext>
            </a:extLst>
          </p:cNvPr>
          <p:cNvSpPr>
            <a:spLocks noGrp="1"/>
          </p:cNvSpPr>
          <p:nvPr>
            <p:ph type="sldNum" sz="quarter" idx="12"/>
          </p:nvPr>
        </p:nvSpPr>
        <p:spPr/>
        <p:txBody>
          <a:bodyPr/>
          <a:lstStyle/>
          <a:p>
            <a:fld id="{7D9BB5D0-35E4-459D-AEF3-FE4D7C45CC19}" type="slidenum">
              <a:rPr lang="zh-CN" altLang="en-US" smtClean="0"/>
              <a:t>20</a:t>
            </a:fld>
            <a:endParaRPr lang="zh-CN" altLang="en-US"/>
          </a:p>
        </p:txBody>
      </p:sp>
    </p:spTree>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0-#ppt_h/2"/>
                                          </p:val>
                                        </p:tav>
                                        <p:tav tm="100000">
                                          <p:val>
                                            <p:strVal val="#ppt_y"/>
                                          </p:val>
                                        </p:tav>
                                      </p:tavLst>
                                    </p:anim>
                                  </p:childTnLst>
                                </p:cTn>
                              </p:par>
                              <p:par>
                                <p:cTn id="13" presetID="22" presetClass="entr" presetSubtype="8" fill="hold" grpId="0" nodeType="withEffect">
                                  <p:stCondLst>
                                    <p:cond delay="0"/>
                                  </p:stCondLst>
                                  <p:childTnLst>
                                    <p:set>
                                      <p:cBhvr>
                                        <p:cTn id="14" dur="1" fill="hold">
                                          <p:stCondLst>
                                            <p:cond delay="0"/>
                                          </p:stCondLst>
                                        </p:cTn>
                                        <p:tgtEl>
                                          <p:spTgt spid="83"/>
                                        </p:tgtEl>
                                        <p:attrNameLst>
                                          <p:attrName>style.visibility</p:attrName>
                                        </p:attrNameLst>
                                      </p:cBhvr>
                                      <p:to>
                                        <p:strVal val="visible"/>
                                      </p:to>
                                    </p:set>
                                    <p:animEffect transition="in" filter="wipe(left)">
                                      <p:cBhvr>
                                        <p:cTn id="15" dur="1000"/>
                                        <p:tgtEl>
                                          <p:spTgt spid="83"/>
                                        </p:tgtEl>
                                      </p:cBhvr>
                                    </p:animEffect>
                                  </p:childTnLst>
                                </p:cTn>
                              </p:par>
                            </p:childTnLst>
                          </p:cTn>
                        </p:par>
                        <p:par>
                          <p:cTn id="16" fill="hold">
                            <p:stCondLst>
                              <p:cond delay="1000"/>
                            </p:stCondLst>
                            <p:childTnLst>
                              <p:par>
                                <p:cTn id="17" presetID="53" presetClass="entr" presetSubtype="16" fill="hold" grpId="0" nodeType="afterEffect">
                                  <p:stCondLst>
                                    <p:cond delay="0"/>
                                  </p:stCondLst>
                                  <p:childTnLst>
                                    <p:set>
                                      <p:cBhvr>
                                        <p:cTn id="18" dur="1" fill="hold">
                                          <p:stCondLst>
                                            <p:cond delay="0"/>
                                          </p:stCondLst>
                                        </p:cTn>
                                        <p:tgtEl>
                                          <p:spTgt spid="81"/>
                                        </p:tgtEl>
                                        <p:attrNameLst>
                                          <p:attrName>style.visibility</p:attrName>
                                        </p:attrNameLst>
                                      </p:cBhvr>
                                      <p:to>
                                        <p:strVal val="visible"/>
                                      </p:to>
                                    </p:set>
                                    <p:anim calcmode="lin" valueType="num">
                                      <p:cBhvr>
                                        <p:cTn id="19" dur="500" fill="hold"/>
                                        <p:tgtEl>
                                          <p:spTgt spid="81"/>
                                        </p:tgtEl>
                                        <p:attrNameLst>
                                          <p:attrName>ppt_w</p:attrName>
                                        </p:attrNameLst>
                                      </p:cBhvr>
                                      <p:tavLst>
                                        <p:tav tm="0">
                                          <p:val>
                                            <p:fltVal val="0"/>
                                          </p:val>
                                        </p:tav>
                                        <p:tav tm="100000">
                                          <p:val>
                                            <p:strVal val="#ppt_w"/>
                                          </p:val>
                                        </p:tav>
                                      </p:tavLst>
                                    </p:anim>
                                    <p:anim calcmode="lin" valueType="num">
                                      <p:cBhvr>
                                        <p:cTn id="20" dur="500" fill="hold"/>
                                        <p:tgtEl>
                                          <p:spTgt spid="81"/>
                                        </p:tgtEl>
                                        <p:attrNameLst>
                                          <p:attrName>ppt_h</p:attrName>
                                        </p:attrNameLst>
                                      </p:cBhvr>
                                      <p:tavLst>
                                        <p:tav tm="0">
                                          <p:val>
                                            <p:fltVal val="0"/>
                                          </p:val>
                                        </p:tav>
                                        <p:tav tm="100000">
                                          <p:val>
                                            <p:strVal val="#ppt_h"/>
                                          </p:val>
                                        </p:tav>
                                      </p:tavLst>
                                    </p:anim>
                                    <p:animEffect transition="in" filter="fade">
                                      <p:cBhvr>
                                        <p:cTn id="21" dur="500"/>
                                        <p:tgtEl>
                                          <p:spTgt spid="81"/>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82"/>
                                        </p:tgtEl>
                                        <p:attrNameLst>
                                          <p:attrName>style.visibility</p:attrName>
                                        </p:attrNameLst>
                                      </p:cBhvr>
                                      <p:to>
                                        <p:strVal val="visible"/>
                                      </p:to>
                                    </p:set>
                                    <p:anim calcmode="lin" valueType="num">
                                      <p:cBhvr>
                                        <p:cTn id="24" dur="500" fill="hold"/>
                                        <p:tgtEl>
                                          <p:spTgt spid="82"/>
                                        </p:tgtEl>
                                        <p:attrNameLst>
                                          <p:attrName>ppt_w</p:attrName>
                                        </p:attrNameLst>
                                      </p:cBhvr>
                                      <p:tavLst>
                                        <p:tav tm="0">
                                          <p:val>
                                            <p:fltVal val="0"/>
                                          </p:val>
                                        </p:tav>
                                        <p:tav tm="100000">
                                          <p:val>
                                            <p:strVal val="#ppt_w"/>
                                          </p:val>
                                        </p:tav>
                                      </p:tavLst>
                                    </p:anim>
                                    <p:anim calcmode="lin" valueType="num">
                                      <p:cBhvr>
                                        <p:cTn id="25" dur="500" fill="hold"/>
                                        <p:tgtEl>
                                          <p:spTgt spid="82"/>
                                        </p:tgtEl>
                                        <p:attrNameLst>
                                          <p:attrName>ppt_h</p:attrName>
                                        </p:attrNameLst>
                                      </p:cBhvr>
                                      <p:tavLst>
                                        <p:tav tm="0">
                                          <p:val>
                                            <p:fltVal val="0"/>
                                          </p:val>
                                        </p:tav>
                                        <p:tav tm="100000">
                                          <p:val>
                                            <p:strVal val="#ppt_h"/>
                                          </p:val>
                                        </p:tav>
                                      </p:tavLst>
                                    </p:anim>
                                    <p:animEffect transition="in" filter="fade">
                                      <p:cBhvr>
                                        <p:cTn id="26" dur="500"/>
                                        <p:tgtEl>
                                          <p:spTgt spid="82"/>
                                        </p:tgtEl>
                                      </p:cBhvr>
                                    </p:animEffect>
                                  </p:childTnLst>
                                </p:cTn>
                              </p:par>
                              <p:par>
                                <p:cTn id="27" presetID="53" presetClass="entr" presetSubtype="16" fill="hold" nodeType="withEffect">
                                  <p:stCondLst>
                                    <p:cond delay="0"/>
                                  </p:stCondLst>
                                  <p:childTnLst>
                                    <p:set>
                                      <p:cBhvr>
                                        <p:cTn id="28" dur="1" fill="hold">
                                          <p:stCondLst>
                                            <p:cond delay="0"/>
                                          </p:stCondLst>
                                        </p:cTn>
                                        <p:tgtEl>
                                          <p:spTgt spid="68"/>
                                        </p:tgtEl>
                                        <p:attrNameLst>
                                          <p:attrName>style.visibility</p:attrName>
                                        </p:attrNameLst>
                                      </p:cBhvr>
                                      <p:to>
                                        <p:strVal val="visible"/>
                                      </p:to>
                                    </p:set>
                                    <p:anim calcmode="lin" valueType="num">
                                      <p:cBhvr>
                                        <p:cTn id="29" dur="500" fill="hold"/>
                                        <p:tgtEl>
                                          <p:spTgt spid="68"/>
                                        </p:tgtEl>
                                        <p:attrNameLst>
                                          <p:attrName>ppt_w</p:attrName>
                                        </p:attrNameLst>
                                      </p:cBhvr>
                                      <p:tavLst>
                                        <p:tav tm="0">
                                          <p:val>
                                            <p:fltVal val="0"/>
                                          </p:val>
                                        </p:tav>
                                        <p:tav tm="100000">
                                          <p:val>
                                            <p:strVal val="#ppt_w"/>
                                          </p:val>
                                        </p:tav>
                                      </p:tavLst>
                                    </p:anim>
                                    <p:anim calcmode="lin" valueType="num">
                                      <p:cBhvr>
                                        <p:cTn id="30" dur="500" fill="hold"/>
                                        <p:tgtEl>
                                          <p:spTgt spid="68"/>
                                        </p:tgtEl>
                                        <p:attrNameLst>
                                          <p:attrName>ppt_h</p:attrName>
                                        </p:attrNameLst>
                                      </p:cBhvr>
                                      <p:tavLst>
                                        <p:tav tm="0">
                                          <p:val>
                                            <p:fltVal val="0"/>
                                          </p:val>
                                        </p:tav>
                                        <p:tav tm="100000">
                                          <p:val>
                                            <p:strVal val="#ppt_h"/>
                                          </p:val>
                                        </p:tav>
                                      </p:tavLst>
                                    </p:anim>
                                    <p:animEffect transition="in" filter="fade">
                                      <p:cBhvr>
                                        <p:cTn id="31" dur="500"/>
                                        <p:tgtEl>
                                          <p:spTgt spid="68"/>
                                        </p:tgtEl>
                                      </p:cBhvr>
                                    </p:animEffect>
                                  </p:childTnLst>
                                </p:cTn>
                              </p:par>
                            </p:childTnLst>
                          </p:cTn>
                        </p:par>
                        <p:par>
                          <p:cTn id="32" fill="hold">
                            <p:stCondLst>
                              <p:cond delay="1500"/>
                            </p:stCondLst>
                            <p:childTnLst>
                              <p:par>
                                <p:cTn id="33" presetID="22" presetClass="entr" presetSubtype="1" fill="hold" nodeType="after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wipe(up)">
                                      <p:cBhvr>
                                        <p:cTn id="35" dur="500"/>
                                        <p:tgtEl>
                                          <p:spTgt spid="84"/>
                                        </p:tgtEl>
                                      </p:cBhvr>
                                    </p:animEffect>
                                  </p:childTnLst>
                                </p:cTn>
                              </p:par>
                            </p:childTnLst>
                          </p:cTn>
                        </p:par>
                        <p:par>
                          <p:cTn id="36" fill="hold">
                            <p:stCondLst>
                              <p:cond delay="2000"/>
                            </p:stCondLst>
                            <p:childTnLst>
                              <p:par>
                                <p:cTn id="37" presetID="22" presetClass="entr" presetSubtype="1" fill="hold" nodeType="afterEffect">
                                  <p:stCondLst>
                                    <p:cond delay="0"/>
                                  </p:stCondLst>
                                  <p:childTnLst>
                                    <p:set>
                                      <p:cBhvr>
                                        <p:cTn id="38" dur="1" fill="hold">
                                          <p:stCondLst>
                                            <p:cond delay="0"/>
                                          </p:stCondLst>
                                        </p:cTn>
                                        <p:tgtEl>
                                          <p:spTgt spid="98"/>
                                        </p:tgtEl>
                                        <p:attrNameLst>
                                          <p:attrName>style.visibility</p:attrName>
                                        </p:attrNameLst>
                                      </p:cBhvr>
                                      <p:to>
                                        <p:strVal val="visible"/>
                                      </p:to>
                                    </p:set>
                                    <p:animEffect transition="in" filter="wipe(up)">
                                      <p:cBhvr>
                                        <p:cTn id="39"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P spid="81" grpId="0" animBg="1"/>
      <p:bldP spid="82" grpId="0" animBg="1"/>
      <p:bldP spid="83" grpId="0"/>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1665"/>
          </a:xfrm>
          <a:prstGeom prst="rect">
            <a:avLst/>
          </a:prstGeom>
          <a:noFill/>
        </p:spPr>
        <p:txBody>
          <a:bodyPr wrap="square">
            <a:spAutoFit/>
          </a:bodyPr>
          <a:lstStyle/>
          <a:p>
            <a:pPr lvl="0">
              <a:defRPr/>
            </a:pPr>
            <a:r>
              <a:rPr lang="en-US" altLang="zh-CN" sz="2400" dirty="0">
                <a:solidFill>
                  <a:prstClr val="white"/>
                </a:solidFill>
              </a:rPr>
              <a:t>4.1 </a:t>
            </a:r>
            <a:r>
              <a:rPr lang="zh-CN" altLang="en-US" sz="2400" dirty="0">
                <a:solidFill>
                  <a:prstClr val="white"/>
                </a:solidFill>
              </a:rPr>
              <a:t>执行机构运动与动力设计</a:t>
            </a:r>
            <a:endPar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4">
              <a:biLevel thresh="25000"/>
            </a:blip>
            <a:srcRect l="30188"/>
            <a:stretch>
              <a:fillRect/>
            </a:stretch>
          </p:blipFill>
          <p:spPr>
            <a:xfrm>
              <a:off x="10483399" y="211219"/>
              <a:ext cx="1621585" cy="701101"/>
            </a:xfrm>
            <a:prstGeom prst="rect">
              <a:avLst/>
            </a:prstGeom>
          </p:spPr>
        </p:pic>
      </p:grpSp>
      <p:pic>
        <p:nvPicPr>
          <p:cNvPr id="68" name="图片占位符 30"/>
          <p:cNvPicPr>
            <a:picLocks noChangeAspect="1"/>
          </p:cNvPicPr>
          <p:nvPr/>
        </p:nvPicPr>
        <p:blipFill>
          <a:blip r:embed="rId5">
            <a:extLst>
              <a:ext uri="{28A0092B-C50C-407E-A947-70E740481C1C}">
                <a14:useLocalDpi xmlns:a14="http://schemas.microsoft.com/office/drawing/2010/main" val="0"/>
              </a:ext>
            </a:extLst>
          </a:blip>
          <a:srcRect l="15993" r="15993"/>
          <a:stretch/>
        </p:blipFill>
        <p:spPr>
          <a:xfrm>
            <a:off x="4397032" y="2301597"/>
            <a:ext cx="3442133" cy="3692525"/>
          </a:xfrm>
          <a:prstGeom prst="rect">
            <a:avLst/>
          </a:prstGeom>
        </p:spPr>
      </p:pic>
      <p:sp>
        <p:nvSpPr>
          <p:cNvPr id="81" name="流程图: 过程 80"/>
          <p:cNvSpPr/>
          <p:nvPr/>
        </p:nvSpPr>
        <p:spPr>
          <a:xfrm>
            <a:off x="695325" y="2301597"/>
            <a:ext cx="3442133" cy="3692525"/>
          </a:xfrm>
          <a:prstGeom prst="flowChartProcess">
            <a:avLst/>
          </a:prstGeom>
          <a:solidFill>
            <a:schemeClr val="bg1"/>
          </a:solidFill>
          <a:ln w="19050">
            <a:solidFill>
              <a:srgbClr val="7038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流程图: 过程 81"/>
          <p:cNvSpPr/>
          <p:nvPr/>
        </p:nvSpPr>
        <p:spPr>
          <a:xfrm>
            <a:off x="8054542" y="2301597"/>
            <a:ext cx="3442133" cy="3692525"/>
          </a:xfrm>
          <a:prstGeom prst="flowChartProcess">
            <a:avLst/>
          </a:prstGeom>
          <a:solidFill>
            <a:schemeClr val="bg1"/>
          </a:solidFill>
          <a:ln w="19050">
            <a:solidFill>
              <a:srgbClr val="7038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矩形 82"/>
          <p:cNvSpPr/>
          <p:nvPr/>
        </p:nvSpPr>
        <p:spPr>
          <a:xfrm>
            <a:off x="695325" y="1247261"/>
            <a:ext cx="10801350" cy="396134"/>
          </a:xfrm>
          <a:prstGeom prst="rect">
            <a:avLst/>
          </a:prstGeom>
        </p:spPr>
        <p:txBody>
          <a:bodyPr wrap="square">
            <a:spAutoFit/>
          </a:bodyPr>
          <a:lstStyle/>
          <a:p>
            <a:pPr algn="just">
              <a:lnSpc>
                <a:spcPct val="120000"/>
              </a:lnSpc>
            </a:pPr>
            <a:r>
              <a:rPr lang="zh-CN" altLang="en-US" dirty="0">
                <a:solidFill>
                  <a:schemeClr val="tx1">
                    <a:lumMod val="50000"/>
                    <a:lumOff val="50000"/>
                  </a:schemeClr>
                </a:solidFill>
              </a:rPr>
              <a:t>本示意图主要展示了卫星太阳能帆板旋转的实现机构，整体设计思路为连杆机构，并使用舵机驱动。</a:t>
            </a:r>
          </a:p>
        </p:txBody>
      </p:sp>
      <p:grpSp>
        <p:nvGrpSpPr>
          <p:cNvPr id="84" name="组合 83"/>
          <p:cNvGrpSpPr/>
          <p:nvPr/>
        </p:nvGrpSpPr>
        <p:grpSpPr>
          <a:xfrm>
            <a:off x="1117125" y="2479986"/>
            <a:ext cx="2598532" cy="3250610"/>
            <a:chOff x="1117125" y="2661240"/>
            <a:chExt cx="2598532" cy="3250610"/>
          </a:xfrm>
        </p:grpSpPr>
        <p:sp>
          <p:nvSpPr>
            <p:cNvPr id="85" name="矩形 84"/>
            <p:cNvSpPr/>
            <p:nvPr/>
          </p:nvSpPr>
          <p:spPr>
            <a:xfrm>
              <a:off x="1482941" y="5435600"/>
              <a:ext cx="1866900" cy="476250"/>
            </a:xfrm>
            <a:prstGeom prst="rect">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6" name="组合 85"/>
            <p:cNvGrpSpPr/>
            <p:nvPr/>
          </p:nvGrpSpPr>
          <p:grpSpPr>
            <a:xfrm>
              <a:off x="1117125" y="3449934"/>
              <a:ext cx="2598532" cy="2033082"/>
              <a:chOff x="1246229" y="4819113"/>
              <a:chExt cx="2598532" cy="2033082"/>
            </a:xfrm>
          </p:grpSpPr>
          <p:sp>
            <p:nvSpPr>
              <p:cNvPr id="89" name="矩形 88"/>
              <p:cNvSpPr/>
              <p:nvPr/>
            </p:nvSpPr>
            <p:spPr>
              <a:xfrm>
                <a:off x="1246229" y="5307990"/>
                <a:ext cx="2598532" cy="1544205"/>
              </a:xfrm>
              <a:prstGeom prst="rect">
                <a:avLst/>
              </a:prstGeom>
            </p:spPr>
            <p:txBody>
              <a:bodyPr wrap="square">
                <a:spAutoFit/>
              </a:bodyPr>
              <a:lstStyle/>
              <a:p>
                <a:pPr algn="ctr">
                  <a:lnSpc>
                    <a:spcPct val="120000"/>
                  </a:lnSpc>
                </a:pPr>
                <a:r>
                  <a:rPr lang="zh-CN" altLang="en-US" sz="1600" dirty="0">
                    <a:solidFill>
                      <a:schemeClr val="tx1">
                        <a:lumMod val="50000"/>
                        <a:lumOff val="50000"/>
                      </a:schemeClr>
                    </a:solidFill>
                  </a:rPr>
                  <a:t>舵机具有响应快，角度可控，环境鲁棒性好等特点。此外，舵机易于控制，体积小巧，有利于部署在远离控制端的卫星中。</a:t>
                </a:r>
              </a:p>
            </p:txBody>
          </p:sp>
          <p:sp>
            <p:nvSpPr>
              <p:cNvPr id="90" name="矩形 89"/>
              <p:cNvSpPr/>
              <p:nvPr/>
            </p:nvSpPr>
            <p:spPr>
              <a:xfrm>
                <a:off x="1424508" y="4819113"/>
                <a:ext cx="2241974" cy="401264"/>
              </a:xfrm>
              <a:prstGeom prst="rect">
                <a:avLst/>
              </a:prstGeom>
            </p:spPr>
            <p:txBody>
              <a:bodyPr wrap="square">
                <a:spAutoFit/>
              </a:bodyPr>
              <a:lstStyle/>
              <a:p>
                <a:pPr algn="ctr">
                  <a:lnSpc>
                    <a:spcPct val="120000"/>
                  </a:lnSpc>
                </a:pPr>
                <a:r>
                  <a:rPr lang="zh-CN" altLang="en-US" b="1" dirty="0">
                    <a:solidFill>
                      <a:schemeClr val="tx1">
                        <a:lumMod val="65000"/>
                        <a:lumOff val="35000"/>
                      </a:schemeClr>
                    </a:solidFill>
                  </a:rPr>
                  <a:t>高扭矩舵机</a:t>
                </a:r>
              </a:p>
            </p:txBody>
          </p:sp>
        </p:grpSp>
        <p:sp>
          <p:nvSpPr>
            <p:cNvPr id="87" name="文本框 86"/>
            <p:cNvSpPr txBox="1"/>
            <p:nvPr/>
          </p:nvSpPr>
          <p:spPr>
            <a:xfrm>
              <a:off x="1811103" y="2661240"/>
              <a:ext cx="1210588" cy="707886"/>
            </a:xfrm>
            <a:prstGeom prst="rect">
              <a:avLst/>
            </a:prstGeom>
            <a:noFill/>
          </p:spPr>
          <p:txBody>
            <a:bodyPr wrap="none" rtlCol="0">
              <a:spAutoFit/>
            </a:bodyPr>
            <a:lstStyle/>
            <a:p>
              <a:pPr algn="ctr"/>
              <a:r>
                <a:rPr lang="zh-CN" altLang="en-US" sz="4000" b="1" dirty="0">
                  <a:solidFill>
                    <a:srgbClr val="703881"/>
                  </a:solidFill>
                  <a:latin typeface="Times New Roman" panose="02020603050405020304" pitchFamily="18" charset="0"/>
                  <a:cs typeface="Times New Roman" panose="02020603050405020304" pitchFamily="18" charset="0"/>
                </a:rPr>
                <a:t>驱动</a:t>
              </a:r>
            </a:p>
          </p:txBody>
        </p:sp>
        <p:sp>
          <p:nvSpPr>
            <p:cNvPr id="88" name="文本框 87"/>
            <p:cNvSpPr txBox="1"/>
            <p:nvPr/>
          </p:nvSpPr>
          <p:spPr>
            <a:xfrm>
              <a:off x="1913692" y="5503472"/>
              <a:ext cx="1005403" cy="338554"/>
            </a:xfrm>
            <a:prstGeom prst="rect">
              <a:avLst/>
            </a:prstGeom>
            <a:noFill/>
          </p:spPr>
          <p:txBody>
            <a:bodyPr wrap="none" rtlCol="0">
              <a:spAutoFit/>
            </a:bodyPr>
            <a:lstStyle/>
            <a:p>
              <a:pPr algn="ctr"/>
              <a:r>
                <a:rPr lang="zh-CN" altLang="en-US" sz="1600" dirty="0">
                  <a:solidFill>
                    <a:schemeClr val="bg1"/>
                  </a:solidFill>
                </a:rPr>
                <a:t>旋转机构</a:t>
              </a:r>
            </a:p>
          </p:txBody>
        </p:sp>
      </p:grpSp>
      <p:grpSp>
        <p:nvGrpSpPr>
          <p:cNvPr id="98" name="组合 97"/>
          <p:cNvGrpSpPr/>
          <p:nvPr/>
        </p:nvGrpSpPr>
        <p:grpSpPr>
          <a:xfrm>
            <a:off x="8476342" y="2479986"/>
            <a:ext cx="2598532" cy="3250610"/>
            <a:chOff x="8476342" y="2661240"/>
            <a:chExt cx="2598532" cy="3250610"/>
          </a:xfrm>
        </p:grpSpPr>
        <p:sp>
          <p:nvSpPr>
            <p:cNvPr id="99" name="矩形 98"/>
            <p:cNvSpPr/>
            <p:nvPr/>
          </p:nvSpPr>
          <p:spPr>
            <a:xfrm>
              <a:off x="8842158" y="5435600"/>
              <a:ext cx="1866900" cy="476250"/>
            </a:xfrm>
            <a:prstGeom prst="rect">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0" name="组合 99"/>
            <p:cNvGrpSpPr/>
            <p:nvPr/>
          </p:nvGrpSpPr>
          <p:grpSpPr>
            <a:xfrm>
              <a:off x="8476342" y="3449934"/>
              <a:ext cx="2598532" cy="1735885"/>
              <a:chOff x="1246229" y="4819113"/>
              <a:chExt cx="2598532" cy="1735885"/>
            </a:xfrm>
          </p:grpSpPr>
          <p:sp>
            <p:nvSpPr>
              <p:cNvPr id="103" name="矩形 102"/>
              <p:cNvSpPr/>
              <p:nvPr/>
            </p:nvSpPr>
            <p:spPr>
              <a:xfrm>
                <a:off x="1246229" y="5307990"/>
                <a:ext cx="2598532" cy="1247008"/>
              </a:xfrm>
              <a:prstGeom prst="rect">
                <a:avLst/>
              </a:prstGeom>
            </p:spPr>
            <p:txBody>
              <a:bodyPr wrap="square">
                <a:spAutoFit/>
              </a:bodyPr>
              <a:lstStyle/>
              <a:p>
                <a:pPr algn="ctr">
                  <a:lnSpc>
                    <a:spcPct val="120000"/>
                  </a:lnSpc>
                </a:pPr>
                <a:r>
                  <a:rPr lang="zh-CN" altLang="en-US" sz="1600" dirty="0">
                    <a:solidFill>
                      <a:schemeClr val="tx1">
                        <a:lumMod val="50000"/>
                        <a:lumOff val="50000"/>
                      </a:schemeClr>
                    </a:solidFill>
                  </a:rPr>
                  <a:t>双向连杆让卫星两个太阳翼同时旋转，结构简单且具有角度一致性，与实际情况相符。</a:t>
                </a:r>
              </a:p>
            </p:txBody>
          </p:sp>
          <p:sp>
            <p:nvSpPr>
              <p:cNvPr id="104" name="矩形 103"/>
              <p:cNvSpPr/>
              <p:nvPr/>
            </p:nvSpPr>
            <p:spPr>
              <a:xfrm>
                <a:off x="1424508" y="4819113"/>
                <a:ext cx="2241974" cy="401264"/>
              </a:xfrm>
              <a:prstGeom prst="rect">
                <a:avLst/>
              </a:prstGeom>
            </p:spPr>
            <p:txBody>
              <a:bodyPr wrap="square">
                <a:spAutoFit/>
              </a:bodyPr>
              <a:lstStyle/>
              <a:p>
                <a:pPr algn="ctr">
                  <a:lnSpc>
                    <a:spcPct val="120000"/>
                  </a:lnSpc>
                </a:pPr>
                <a:r>
                  <a:rPr lang="zh-CN" altLang="en-US" b="1" dirty="0">
                    <a:solidFill>
                      <a:schemeClr val="tx1">
                        <a:lumMod val="65000"/>
                        <a:lumOff val="35000"/>
                      </a:schemeClr>
                    </a:solidFill>
                  </a:rPr>
                  <a:t>双向连杆</a:t>
                </a:r>
              </a:p>
            </p:txBody>
          </p:sp>
        </p:grpSp>
        <p:sp>
          <p:nvSpPr>
            <p:cNvPr id="101" name="文本框 100"/>
            <p:cNvSpPr txBox="1"/>
            <p:nvPr/>
          </p:nvSpPr>
          <p:spPr>
            <a:xfrm>
              <a:off x="9170317" y="2661240"/>
              <a:ext cx="1210588" cy="707886"/>
            </a:xfrm>
            <a:prstGeom prst="rect">
              <a:avLst/>
            </a:prstGeom>
            <a:noFill/>
          </p:spPr>
          <p:txBody>
            <a:bodyPr wrap="none" rtlCol="0">
              <a:spAutoFit/>
            </a:bodyPr>
            <a:lstStyle/>
            <a:p>
              <a:pPr algn="ctr"/>
              <a:r>
                <a:rPr lang="zh-CN" altLang="en-US" sz="4000" b="1" dirty="0">
                  <a:solidFill>
                    <a:srgbClr val="703881"/>
                  </a:solidFill>
                  <a:latin typeface="Times New Roman" panose="02020603050405020304" pitchFamily="18" charset="0"/>
                  <a:cs typeface="Times New Roman" panose="02020603050405020304" pitchFamily="18" charset="0"/>
                </a:rPr>
                <a:t>机构</a:t>
              </a:r>
            </a:p>
          </p:txBody>
        </p:sp>
        <p:sp>
          <p:nvSpPr>
            <p:cNvPr id="102" name="文本框 101"/>
            <p:cNvSpPr txBox="1"/>
            <p:nvPr/>
          </p:nvSpPr>
          <p:spPr>
            <a:xfrm>
              <a:off x="9272911" y="5503472"/>
              <a:ext cx="1005403" cy="338554"/>
            </a:xfrm>
            <a:prstGeom prst="rect">
              <a:avLst/>
            </a:prstGeom>
            <a:noFill/>
          </p:spPr>
          <p:txBody>
            <a:bodyPr wrap="none" rtlCol="0">
              <a:spAutoFit/>
            </a:bodyPr>
            <a:lstStyle/>
            <a:p>
              <a:pPr algn="ctr"/>
              <a:r>
                <a:rPr lang="zh-CN" altLang="en-US" sz="1600" dirty="0">
                  <a:solidFill>
                    <a:schemeClr val="bg1"/>
                  </a:solidFill>
                </a:rPr>
                <a:t>旋转机构</a:t>
              </a:r>
            </a:p>
          </p:txBody>
        </p:sp>
      </p:grpSp>
      <p:sp>
        <p:nvSpPr>
          <p:cNvPr id="3" name="灯片编号占位符 2">
            <a:extLst>
              <a:ext uri="{FF2B5EF4-FFF2-40B4-BE49-F238E27FC236}">
                <a16:creationId xmlns:a16="http://schemas.microsoft.com/office/drawing/2014/main" id="{0F3F2083-9BA2-463A-9673-377AB8AFC5A9}"/>
              </a:ext>
            </a:extLst>
          </p:cNvPr>
          <p:cNvSpPr>
            <a:spLocks noGrp="1"/>
          </p:cNvSpPr>
          <p:nvPr>
            <p:ph type="sldNum" sz="quarter" idx="12"/>
          </p:nvPr>
        </p:nvSpPr>
        <p:spPr/>
        <p:txBody>
          <a:bodyPr/>
          <a:lstStyle/>
          <a:p>
            <a:fld id="{7D9BB5D0-35E4-459D-AEF3-FE4D7C45CC19}" type="slidenum">
              <a:rPr lang="zh-CN" altLang="en-US" smtClean="0"/>
              <a:t>21</a:t>
            </a:fld>
            <a:endParaRPr lang="zh-CN" altLang="en-US"/>
          </a:p>
        </p:txBody>
      </p:sp>
    </p:spTree>
    <p:extLst>
      <p:ext uri="{BB962C8B-B14F-4D97-AF65-F5344CB8AC3E}">
        <p14:creationId xmlns:p14="http://schemas.microsoft.com/office/powerpoint/2010/main" val="2715822946"/>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0-#ppt_h/2"/>
                                          </p:val>
                                        </p:tav>
                                        <p:tav tm="100000">
                                          <p:val>
                                            <p:strVal val="#ppt_y"/>
                                          </p:val>
                                        </p:tav>
                                      </p:tavLst>
                                    </p:anim>
                                  </p:childTnLst>
                                </p:cTn>
                              </p:par>
                              <p:par>
                                <p:cTn id="13" presetID="22" presetClass="entr" presetSubtype="8" fill="hold" grpId="0" nodeType="withEffect">
                                  <p:stCondLst>
                                    <p:cond delay="0"/>
                                  </p:stCondLst>
                                  <p:childTnLst>
                                    <p:set>
                                      <p:cBhvr>
                                        <p:cTn id="14" dur="1" fill="hold">
                                          <p:stCondLst>
                                            <p:cond delay="0"/>
                                          </p:stCondLst>
                                        </p:cTn>
                                        <p:tgtEl>
                                          <p:spTgt spid="83"/>
                                        </p:tgtEl>
                                        <p:attrNameLst>
                                          <p:attrName>style.visibility</p:attrName>
                                        </p:attrNameLst>
                                      </p:cBhvr>
                                      <p:to>
                                        <p:strVal val="visible"/>
                                      </p:to>
                                    </p:set>
                                    <p:animEffect transition="in" filter="wipe(left)">
                                      <p:cBhvr>
                                        <p:cTn id="15" dur="1000"/>
                                        <p:tgtEl>
                                          <p:spTgt spid="83"/>
                                        </p:tgtEl>
                                      </p:cBhvr>
                                    </p:animEffect>
                                  </p:childTnLst>
                                </p:cTn>
                              </p:par>
                            </p:childTnLst>
                          </p:cTn>
                        </p:par>
                        <p:par>
                          <p:cTn id="16" fill="hold">
                            <p:stCondLst>
                              <p:cond delay="1000"/>
                            </p:stCondLst>
                            <p:childTnLst>
                              <p:par>
                                <p:cTn id="17" presetID="53" presetClass="entr" presetSubtype="16" fill="hold" grpId="0" nodeType="afterEffect">
                                  <p:stCondLst>
                                    <p:cond delay="0"/>
                                  </p:stCondLst>
                                  <p:childTnLst>
                                    <p:set>
                                      <p:cBhvr>
                                        <p:cTn id="18" dur="1" fill="hold">
                                          <p:stCondLst>
                                            <p:cond delay="0"/>
                                          </p:stCondLst>
                                        </p:cTn>
                                        <p:tgtEl>
                                          <p:spTgt spid="81"/>
                                        </p:tgtEl>
                                        <p:attrNameLst>
                                          <p:attrName>style.visibility</p:attrName>
                                        </p:attrNameLst>
                                      </p:cBhvr>
                                      <p:to>
                                        <p:strVal val="visible"/>
                                      </p:to>
                                    </p:set>
                                    <p:anim calcmode="lin" valueType="num">
                                      <p:cBhvr>
                                        <p:cTn id="19" dur="500" fill="hold"/>
                                        <p:tgtEl>
                                          <p:spTgt spid="81"/>
                                        </p:tgtEl>
                                        <p:attrNameLst>
                                          <p:attrName>ppt_w</p:attrName>
                                        </p:attrNameLst>
                                      </p:cBhvr>
                                      <p:tavLst>
                                        <p:tav tm="0">
                                          <p:val>
                                            <p:fltVal val="0"/>
                                          </p:val>
                                        </p:tav>
                                        <p:tav tm="100000">
                                          <p:val>
                                            <p:strVal val="#ppt_w"/>
                                          </p:val>
                                        </p:tav>
                                      </p:tavLst>
                                    </p:anim>
                                    <p:anim calcmode="lin" valueType="num">
                                      <p:cBhvr>
                                        <p:cTn id="20" dur="500" fill="hold"/>
                                        <p:tgtEl>
                                          <p:spTgt spid="81"/>
                                        </p:tgtEl>
                                        <p:attrNameLst>
                                          <p:attrName>ppt_h</p:attrName>
                                        </p:attrNameLst>
                                      </p:cBhvr>
                                      <p:tavLst>
                                        <p:tav tm="0">
                                          <p:val>
                                            <p:fltVal val="0"/>
                                          </p:val>
                                        </p:tav>
                                        <p:tav tm="100000">
                                          <p:val>
                                            <p:strVal val="#ppt_h"/>
                                          </p:val>
                                        </p:tav>
                                      </p:tavLst>
                                    </p:anim>
                                    <p:animEffect transition="in" filter="fade">
                                      <p:cBhvr>
                                        <p:cTn id="21" dur="500"/>
                                        <p:tgtEl>
                                          <p:spTgt spid="81"/>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82"/>
                                        </p:tgtEl>
                                        <p:attrNameLst>
                                          <p:attrName>style.visibility</p:attrName>
                                        </p:attrNameLst>
                                      </p:cBhvr>
                                      <p:to>
                                        <p:strVal val="visible"/>
                                      </p:to>
                                    </p:set>
                                    <p:anim calcmode="lin" valueType="num">
                                      <p:cBhvr>
                                        <p:cTn id="24" dur="500" fill="hold"/>
                                        <p:tgtEl>
                                          <p:spTgt spid="82"/>
                                        </p:tgtEl>
                                        <p:attrNameLst>
                                          <p:attrName>ppt_w</p:attrName>
                                        </p:attrNameLst>
                                      </p:cBhvr>
                                      <p:tavLst>
                                        <p:tav tm="0">
                                          <p:val>
                                            <p:fltVal val="0"/>
                                          </p:val>
                                        </p:tav>
                                        <p:tav tm="100000">
                                          <p:val>
                                            <p:strVal val="#ppt_w"/>
                                          </p:val>
                                        </p:tav>
                                      </p:tavLst>
                                    </p:anim>
                                    <p:anim calcmode="lin" valueType="num">
                                      <p:cBhvr>
                                        <p:cTn id="25" dur="500" fill="hold"/>
                                        <p:tgtEl>
                                          <p:spTgt spid="82"/>
                                        </p:tgtEl>
                                        <p:attrNameLst>
                                          <p:attrName>ppt_h</p:attrName>
                                        </p:attrNameLst>
                                      </p:cBhvr>
                                      <p:tavLst>
                                        <p:tav tm="0">
                                          <p:val>
                                            <p:fltVal val="0"/>
                                          </p:val>
                                        </p:tav>
                                        <p:tav tm="100000">
                                          <p:val>
                                            <p:strVal val="#ppt_h"/>
                                          </p:val>
                                        </p:tav>
                                      </p:tavLst>
                                    </p:anim>
                                    <p:animEffect transition="in" filter="fade">
                                      <p:cBhvr>
                                        <p:cTn id="26" dur="500"/>
                                        <p:tgtEl>
                                          <p:spTgt spid="82"/>
                                        </p:tgtEl>
                                      </p:cBhvr>
                                    </p:animEffect>
                                  </p:childTnLst>
                                </p:cTn>
                              </p:par>
                              <p:par>
                                <p:cTn id="27" presetID="53" presetClass="entr" presetSubtype="16" fill="hold" nodeType="withEffect">
                                  <p:stCondLst>
                                    <p:cond delay="0"/>
                                  </p:stCondLst>
                                  <p:childTnLst>
                                    <p:set>
                                      <p:cBhvr>
                                        <p:cTn id="28" dur="1" fill="hold">
                                          <p:stCondLst>
                                            <p:cond delay="0"/>
                                          </p:stCondLst>
                                        </p:cTn>
                                        <p:tgtEl>
                                          <p:spTgt spid="68"/>
                                        </p:tgtEl>
                                        <p:attrNameLst>
                                          <p:attrName>style.visibility</p:attrName>
                                        </p:attrNameLst>
                                      </p:cBhvr>
                                      <p:to>
                                        <p:strVal val="visible"/>
                                      </p:to>
                                    </p:set>
                                    <p:anim calcmode="lin" valueType="num">
                                      <p:cBhvr>
                                        <p:cTn id="29" dur="500" fill="hold"/>
                                        <p:tgtEl>
                                          <p:spTgt spid="68"/>
                                        </p:tgtEl>
                                        <p:attrNameLst>
                                          <p:attrName>ppt_w</p:attrName>
                                        </p:attrNameLst>
                                      </p:cBhvr>
                                      <p:tavLst>
                                        <p:tav tm="0">
                                          <p:val>
                                            <p:fltVal val="0"/>
                                          </p:val>
                                        </p:tav>
                                        <p:tav tm="100000">
                                          <p:val>
                                            <p:strVal val="#ppt_w"/>
                                          </p:val>
                                        </p:tav>
                                      </p:tavLst>
                                    </p:anim>
                                    <p:anim calcmode="lin" valueType="num">
                                      <p:cBhvr>
                                        <p:cTn id="30" dur="500" fill="hold"/>
                                        <p:tgtEl>
                                          <p:spTgt spid="68"/>
                                        </p:tgtEl>
                                        <p:attrNameLst>
                                          <p:attrName>ppt_h</p:attrName>
                                        </p:attrNameLst>
                                      </p:cBhvr>
                                      <p:tavLst>
                                        <p:tav tm="0">
                                          <p:val>
                                            <p:fltVal val="0"/>
                                          </p:val>
                                        </p:tav>
                                        <p:tav tm="100000">
                                          <p:val>
                                            <p:strVal val="#ppt_h"/>
                                          </p:val>
                                        </p:tav>
                                      </p:tavLst>
                                    </p:anim>
                                    <p:animEffect transition="in" filter="fade">
                                      <p:cBhvr>
                                        <p:cTn id="31" dur="500"/>
                                        <p:tgtEl>
                                          <p:spTgt spid="68"/>
                                        </p:tgtEl>
                                      </p:cBhvr>
                                    </p:animEffect>
                                  </p:childTnLst>
                                </p:cTn>
                              </p:par>
                            </p:childTnLst>
                          </p:cTn>
                        </p:par>
                        <p:par>
                          <p:cTn id="32" fill="hold">
                            <p:stCondLst>
                              <p:cond delay="1500"/>
                            </p:stCondLst>
                            <p:childTnLst>
                              <p:par>
                                <p:cTn id="33" presetID="22" presetClass="entr" presetSubtype="1" fill="hold" nodeType="after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wipe(up)">
                                      <p:cBhvr>
                                        <p:cTn id="35" dur="500"/>
                                        <p:tgtEl>
                                          <p:spTgt spid="84"/>
                                        </p:tgtEl>
                                      </p:cBhvr>
                                    </p:animEffect>
                                  </p:childTnLst>
                                </p:cTn>
                              </p:par>
                            </p:childTnLst>
                          </p:cTn>
                        </p:par>
                        <p:par>
                          <p:cTn id="36" fill="hold">
                            <p:stCondLst>
                              <p:cond delay="2000"/>
                            </p:stCondLst>
                            <p:childTnLst>
                              <p:par>
                                <p:cTn id="37" presetID="22" presetClass="entr" presetSubtype="1" fill="hold" nodeType="afterEffect">
                                  <p:stCondLst>
                                    <p:cond delay="0"/>
                                  </p:stCondLst>
                                  <p:childTnLst>
                                    <p:set>
                                      <p:cBhvr>
                                        <p:cTn id="38" dur="1" fill="hold">
                                          <p:stCondLst>
                                            <p:cond delay="0"/>
                                          </p:stCondLst>
                                        </p:cTn>
                                        <p:tgtEl>
                                          <p:spTgt spid="98"/>
                                        </p:tgtEl>
                                        <p:attrNameLst>
                                          <p:attrName>style.visibility</p:attrName>
                                        </p:attrNameLst>
                                      </p:cBhvr>
                                      <p:to>
                                        <p:strVal val="visible"/>
                                      </p:to>
                                    </p:set>
                                    <p:animEffect transition="in" filter="wipe(up)">
                                      <p:cBhvr>
                                        <p:cTn id="39"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P spid="81" grpId="0" animBg="1"/>
      <p:bldP spid="82" grpId="0" animBg="1"/>
      <p:bldP spid="83"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1665"/>
          </a:xfrm>
          <a:prstGeom prst="rect">
            <a:avLst/>
          </a:prstGeom>
          <a:noFill/>
        </p:spPr>
        <p:txBody>
          <a:bodyPr wrap="square">
            <a:spAutoFit/>
          </a:bodyPr>
          <a:lstStyle/>
          <a:p>
            <a:pPr lvl="0">
              <a:defRPr/>
            </a:pPr>
            <a:r>
              <a:rPr lang="en-US" altLang="zh-CN" sz="2400" dirty="0">
                <a:solidFill>
                  <a:prstClr val="white"/>
                </a:solidFill>
              </a:rPr>
              <a:t>4.1 </a:t>
            </a:r>
            <a:r>
              <a:rPr lang="zh-CN" altLang="en-US" sz="2400" dirty="0">
                <a:solidFill>
                  <a:prstClr val="white"/>
                </a:solidFill>
              </a:rPr>
              <a:t>执行机构运动与动力设计</a:t>
            </a:r>
            <a:endPar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4">
              <a:biLevel thresh="25000"/>
            </a:blip>
            <a:srcRect l="30188"/>
            <a:stretch>
              <a:fillRect/>
            </a:stretch>
          </p:blipFill>
          <p:spPr>
            <a:xfrm>
              <a:off x="10483399" y="211219"/>
              <a:ext cx="1621585" cy="701101"/>
            </a:xfrm>
            <a:prstGeom prst="rect">
              <a:avLst/>
            </a:prstGeom>
          </p:spPr>
        </p:pic>
      </p:grpSp>
      <p:pic>
        <p:nvPicPr>
          <p:cNvPr id="25" name="图片 24">
            <a:extLst>
              <a:ext uri="{FF2B5EF4-FFF2-40B4-BE49-F238E27FC236}">
                <a16:creationId xmlns:a16="http://schemas.microsoft.com/office/drawing/2014/main" id="{0E46674F-BEEB-4030-A716-A225C45006E9}"/>
              </a:ext>
            </a:extLst>
          </p:cNvPr>
          <p:cNvPicPr/>
          <p:nvPr/>
        </p:nvPicPr>
        <p:blipFill>
          <a:blip r:embed="rId5"/>
          <a:stretch>
            <a:fillRect/>
          </a:stretch>
        </p:blipFill>
        <p:spPr>
          <a:xfrm>
            <a:off x="794607" y="920470"/>
            <a:ext cx="10702068" cy="5937530"/>
          </a:xfrm>
          <a:prstGeom prst="rect">
            <a:avLst/>
          </a:prstGeom>
          <a:ln>
            <a:solidFill>
              <a:schemeClr val="tx1"/>
            </a:solidFill>
          </a:ln>
        </p:spPr>
      </p:pic>
      <p:sp>
        <p:nvSpPr>
          <p:cNvPr id="82" name="流程图: 过程 81"/>
          <p:cNvSpPr/>
          <p:nvPr/>
        </p:nvSpPr>
        <p:spPr>
          <a:xfrm>
            <a:off x="7308716" y="3631660"/>
            <a:ext cx="4187960" cy="3226339"/>
          </a:xfrm>
          <a:prstGeom prst="flowChartProcess">
            <a:avLst/>
          </a:prstGeom>
          <a:solidFill>
            <a:schemeClr val="bg1"/>
          </a:solidFill>
          <a:ln w="19050">
            <a:solidFill>
              <a:srgbClr val="7038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98" name="组合 97"/>
          <p:cNvGrpSpPr/>
          <p:nvPr/>
        </p:nvGrpSpPr>
        <p:grpSpPr>
          <a:xfrm>
            <a:off x="7838686" y="3696742"/>
            <a:ext cx="3128020" cy="2940530"/>
            <a:chOff x="8476342" y="2661240"/>
            <a:chExt cx="2598532" cy="3250610"/>
          </a:xfrm>
        </p:grpSpPr>
        <p:sp>
          <p:nvSpPr>
            <p:cNvPr id="99" name="矩形 98"/>
            <p:cNvSpPr/>
            <p:nvPr/>
          </p:nvSpPr>
          <p:spPr>
            <a:xfrm>
              <a:off x="8842158" y="5435600"/>
              <a:ext cx="1866900" cy="476250"/>
            </a:xfrm>
            <a:prstGeom prst="rect">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0" name="组合 99"/>
            <p:cNvGrpSpPr/>
            <p:nvPr/>
          </p:nvGrpSpPr>
          <p:grpSpPr>
            <a:xfrm>
              <a:off x="8476342" y="3449934"/>
              <a:ext cx="2598532" cy="1867380"/>
              <a:chOff x="1246229" y="4819113"/>
              <a:chExt cx="2598532" cy="1867380"/>
            </a:xfrm>
          </p:grpSpPr>
          <p:sp>
            <p:nvSpPr>
              <p:cNvPr id="103" name="矩形 102"/>
              <p:cNvSpPr/>
              <p:nvPr/>
            </p:nvSpPr>
            <p:spPr>
              <a:xfrm>
                <a:off x="1246229" y="5307988"/>
                <a:ext cx="2598532" cy="1378505"/>
              </a:xfrm>
              <a:prstGeom prst="rect">
                <a:avLst/>
              </a:prstGeom>
            </p:spPr>
            <p:txBody>
              <a:bodyPr wrap="square">
                <a:spAutoFit/>
              </a:bodyPr>
              <a:lstStyle/>
              <a:p>
                <a:pPr algn="ctr">
                  <a:lnSpc>
                    <a:spcPct val="120000"/>
                  </a:lnSpc>
                </a:pPr>
                <a:r>
                  <a:rPr lang="zh-CN" altLang="en-US" sz="1600" dirty="0">
                    <a:solidFill>
                      <a:schemeClr val="tx1">
                        <a:lumMod val="50000"/>
                        <a:lumOff val="50000"/>
                      </a:schemeClr>
                    </a:solidFill>
                  </a:rPr>
                  <a:t>主机包括两部分：展示机柜与控制机柜，展示机柜包含光源、卫星及运动机构，控制机柜包含操控系统与中控系统。</a:t>
                </a:r>
              </a:p>
            </p:txBody>
          </p:sp>
          <p:sp>
            <p:nvSpPr>
              <p:cNvPr id="104" name="矩形 103"/>
              <p:cNvSpPr/>
              <p:nvPr/>
            </p:nvSpPr>
            <p:spPr>
              <a:xfrm>
                <a:off x="1424508" y="4819113"/>
                <a:ext cx="2241974" cy="443010"/>
              </a:xfrm>
              <a:prstGeom prst="rect">
                <a:avLst/>
              </a:prstGeom>
            </p:spPr>
            <p:txBody>
              <a:bodyPr wrap="square">
                <a:spAutoFit/>
              </a:bodyPr>
              <a:lstStyle/>
              <a:p>
                <a:pPr algn="ctr">
                  <a:lnSpc>
                    <a:spcPct val="120000"/>
                  </a:lnSpc>
                </a:pPr>
                <a:r>
                  <a:rPr lang="en-US" altLang="zh-CN" b="1" dirty="0">
                    <a:solidFill>
                      <a:schemeClr val="tx1">
                        <a:lumMod val="65000"/>
                        <a:lumOff val="35000"/>
                      </a:schemeClr>
                    </a:solidFill>
                  </a:rPr>
                  <a:t>2200×1225×1750mm</a:t>
                </a:r>
                <a:endParaRPr lang="zh-CN" altLang="en-US" b="1" dirty="0">
                  <a:solidFill>
                    <a:schemeClr val="tx1">
                      <a:lumMod val="65000"/>
                      <a:lumOff val="35000"/>
                    </a:schemeClr>
                  </a:solidFill>
                </a:endParaRPr>
              </a:p>
            </p:txBody>
          </p:sp>
        </p:grpSp>
        <p:sp>
          <p:nvSpPr>
            <p:cNvPr id="101" name="文本框 100"/>
            <p:cNvSpPr txBox="1"/>
            <p:nvPr/>
          </p:nvSpPr>
          <p:spPr>
            <a:xfrm>
              <a:off x="9059715" y="2661240"/>
              <a:ext cx="1431799" cy="782533"/>
            </a:xfrm>
            <a:prstGeom prst="rect">
              <a:avLst/>
            </a:prstGeom>
            <a:noFill/>
          </p:spPr>
          <p:txBody>
            <a:bodyPr wrap="none" rtlCol="0">
              <a:spAutoFit/>
            </a:bodyPr>
            <a:lstStyle/>
            <a:p>
              <a:pPr algn="ctr"/>
              <a:r>
                <a:rPr lang="zh-CN" altLang="en-US" sz="4000" b="1" dirty="0">
                  <a:solidFill>
                    <a:srgbClr val="703881"/>
                  </a:solidFill>
                  <a:latin typeface="Times New Roman" panose="02020603050405020304" pitchFamily="18" charset="0"/>
                  <a:cs typeface="Times New Roman" panose="02020603050405020304" pitchFamily="18" charset="0"/>
                </a:rPr>
                <a:t>三视图</a:t>
              </a:r>
            </a:p>
          </p:txBody>
        </p:sp>
        <p:sp>
          <p:nvSpPr>
            <p:cNvPr id="102" name="文本框 101"/>
            <p:cNvSpPr txBox="1"/>
            <p:nvPr/>
          </p:nvSpPr>
          <p:spPr>
            <a:xfrm>
              <a:off x="9358010" y="5503472"/>
              <a:ext cx="835216" cy="374255"/>
            </a:xfrm>
            <a:prstGeom prst="rect">
              <a:avLst/>
            </a:prstGeom>
            <a:noFill/>
          </p:spPr>
          <p:txBody>
            <a:bodyPr wrap="none" rtlCol="0">
              <a:spAutoFit/>
            </a:bodyPr>
            <a:lstStyle/>
            <a:p>
              <a:pPr algn="ctr"/>
              <a:r>
                <a:rPr lang="zh-CN" altLang="en-US" sz="1600" dirty="0">
                  <a:solidFill>
                    <a:schemeClr val="bg1"/>
                  </a:solidFill>
                </a:rPr>
                <a:t>整机效果</a:t>
              </a:r>
            </a:p>
          </p:txBody>
        </p:sp>
      </p:grpSp>
      <p:sp>
        <p:nvSpPr>
          <p:cNvPr id="3" name="灯片编号占位符 2">
            <a:extLst>
              <a:ext uri="{FF2B5EF4-FFF2-40B4-BE49-F238E27FC236}">
                <a16:creationId xmlns:a16="http://schemas.microsoft.com/office/drawing/2014/main" id="{041DAF76-7DFD-4E4A-A0CD-5A0442F2C2D5}"/>
              </a:ext>
            </a:extLst>
          </p:cNvPr>
          <p:cNvSpPr>
            <a:spLocks noGrp="1"/>
          </p:cNvSpPr>
          <p:nvPr>
            <p:ph type="sldNum" sz="quarter" idx="12"/>
          </p:nvPr>
        </p:nvSpPr>
        <p:spPr/>
        <p:txBody>
          <a:bodyPr/>
          <a:lstStyle/>
          <a:p>
            <a:fld id="{7D9BB5D0-35E4-459D-AEF3-FE4D7C45CC19}" type="slidenum">
              <a:rPr lang="zh-CN" altLang="en-US" smtClean="0"/>
              <a:t>22</a:t>
            </a:fld>
            <a:endParaRPr lang="zh-CN" altLang="en-US"/>
          </a:p>
        </p:txBody>
      </p:sp>
    </p:spTree>
    <p:extLst>
      <p:ext uri="{BB962C8B-B14F-4D97-AF65-F5344CB8AC3E}">
        <p14:creationId xmlns:p14="http://schemas.microsoft.com/office/powerpoint/2010/main" val="2042541455"/>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0-#ppt_h/2"/>
                                          </p:val>
                                        </p:tav>
                                        <p:tav tm="100000">
                                          <p:val>
                                            <p:strVal val="#ppt_y"/>
                                          </p:val>
                                        </p:tav>
                                      </p:tavLst>
                                    </p:anim>
                                  </p:childTnLst>
                                </p:cTn>
                              </p:par>
                              <p:par>
                                <p:cTn id="13" presetID="53" presetClass="entr" presetSubtype="16" fill="hold" grpId="0" nodeType="withEffect">
                                  <p:stCondLst>
                                    <p:cond delay="0"/>
                                  </p:stCondLst>
                                  <p:childTnLst>
                                    <p:set>
                                      <p:cBhvr>
                                        <p:cTn id="14" dur="1" fill="hold">
                                          <p:stCondLst>
                                            <p:cond delay="0"/>
                                          </p:stCondLst>
                                        </p:cTn>
                                        <p:tgtEl>
                                          <p:spTgt spid="82"/>
                                        </p:tgtEl>
                                        <p:attrNameLst>
                                          <p:attrName>style.visibility</p:attrName>
                                        </p:attrNameLst>
                                      </p:cBhvr>
                                      <p:to>
                                        <p:strVal val="visible"/>
                                      </p:to>
                                    </p:set>
                                    <p:anim calcmode="lin" valueType="num">
                                      <p:cBhvr>
                                        <p:cTn id="15" dur="500" fill="hold"/>
                                        <p:tgtEl>
                                          <p:spTgt spid="82"/>
                                        </p:tgtEl>
                                        <p:attrNameLst>
                                          <p:attrName>ppt_w</p:attrName>
                                        </p:attrNameLst>
                                      </p:cBhvr>
                                      <p:tavLst>
                                        <p:tav tm="0">
                                          <p:val>
                                            <p:fltVal val="0"/>
                                          </p:val>
                                        </p:tav>
                                        <p:tav tm="100000">
                                          <p:val>
                                            <p:strVal val="#ppt_w"/>
                                          </p:val>
                                        </p:tav>
                                      </p:tavLst>
                                    </p:anim>
                                    <p:anim calcmode="lin" valueType="num">
                                      <p:cBhvr>
                                        <p:cTn id="16" dur="500" fill="hold"/>
                                        <p:tgtEl>
                                          <p:spTgt spid="82"/>
                                        </p:tgtEl>
                                        <p:attrNameLst>
                                          <p:attrName>ppt_h</p:attrName>
                                        </p:attrNameLst>
                                      </p:cBhvr>
                                      <p:tavLst>
                                        <p:tav tm="0">
                                          <p:val>
                                            <p:fltVal val="0"/>
                                          </p:val>
                                        </p:tav>
                                        <p:tav tm="100000">
                                          <p:val>
                                            <p:strVal val="#ppt_h"/>
                                          </p:val>
                                        </p:tav>
                                      </p:tavLst>
                                    </p:anim>
                                    <p:animEffect transition="in" filter="fade">
                                      <p:cBhvr>
                                        <p:cTn id="17" dur="500"/>
                                        <p:tgtEl>
                                          <p:spTgt spid="82"/>
                                        </p:tgtEl>
                                      </p:cBhvr>
                                    </p:animEffect>
                                  </p:childTnLst>
                                </p:cTn>
                              </p:par>
                            </p:childTnLst>
                          </p:cTn>
                        </p:par>
                        <p:par>
                          <p:cTn id="18" fill="hold">
                            <p:stCondLst>
                              <p:cond delay="500"/>
                            </p:stCondLst>
                            <p:childTnLst>
                              <p:par>
                                <p:cTn id="19" presetID="22" presetClass="entr" presetSubtype="1" fill="hold" nodeType="afterEffect">
                                  <p:stCondLst>
                                    <p:cond delay="0"/>
                                  </p:stCondLst>
                                  <p:childTnLst>
                                    <p:set>
                                      <p:cBhvr>
                                        <p:cTn id="20" dur="1" fill="hold">
                                          <p:stCondLst>
                                            <p:cond delay="0"/>
                                          </p:stCondLst>
                                        </p:cTn>
                                        <p:tgtEl>
                                          <p:spTgt spid="98"/>
                                        </p:tgtEl>
                                        <p:attrNameLst>
                                          <p:attrName>style.visibility</p:attrName>
                                        </p:attrNameLst>
                                      </p:cBhvr>
                                      <p:to>
                                        <p:strVal val="visible"/>
                                      </p:to>
                                    </p:set>
                                    <p:animEffect transition="in" filter="wipe(up)">
                                      <p:cBhvr>
                                        <p:cTn id="21"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P spid="8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1665"/>
          </a:xfrm>
          <a:prstGeom prst="rect">
            <a:avLst/>
          </a:prstGeom>
          <a:noFill/>
        </p:spPr>
        <p:txBody>
          <a:bodyPr wrap="square">
            <a:spAutoFit/>
          </a:bodyPr>
          <a:lstStyle/>
          <a:p>
            <a:pPr lvl="0">
              <a:defRPr/>
            </a:pPr>
            <a:r>
              <a:rPr lang="en-US" altLang="zh-CN" sz="2400" dirty="0">
                <a:solidFill>
                  <a:prstClr val="white"/>
                </a:solidFill>
              </a:rPr>
              <a:t>4.1 </a:t>
            </a:r>
            <a:r>
              <a:rPr lang="zh-CN" altLang="en-US" sz="2400" dirty="0">
                <a:solidFill>
                  <a:prstClr val="white"/>
                </a:solidFill>
              </a:rPr>
              <a:t>执行机构运动与动力设计</a:t>
            </a:r>
            <a:endPar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3" cstate="print">
              <a:lum bright="70000" contrast="-70000"/>
              <a:extLst>
                <a:ext uri="{BEBA8EAE-BF5A-486C-A8C5-ECC9F3942E4B}">
                  <a14:imgProps xmlns:a14="http://schemas.microsoft.com/office/drawing/2010/main">
                    <a14:imgLayer r:embed="rId4">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5">
              <a:biLevel thresh="25000"/>
            </a:blip>
            <a:srcRect l="30188"/>
            <a:stretch>
              <a:fillRect/>
            </a:stretch>
          </p:blipFill>
          <p:spPr>
            <a:xfrm>
              <a:off x="10483399" y="211219"/>
              <a:ext cx="1621585" cy="701101"/>
            </a:xfrm>
            <a:prstGeom prst="rect">
              <a:avLst/>
            </a:prstGeom>
          </p:spPr>
        </p:pic>
      </p:grpSp>
      <p:pic>
        <p:nvPicPr>
          <p:cNvPr id="16" name="图片 15">
            <a:extLst>
              <a:ext uri="{FF2B5EF4-FFF2-40B4-BE49-F238E27FC236}">
                <a16:creationId xmlns:a16="http://schemas.microsoft.com/office/drawing/2014/main" id="{28B23B73-F068-4242-B07C-799ABBD6A2E6}"/>
              </a:ext>
            </a:extLst>
          </p:cNvPr>
          <p:cNvPicPr/>
          <p:nvPr/>
        </p:nvPicPr>
        <p:blipFill>
          <a:blip r:embed="rId6"/>
          <a:stretch>
            <a:fillRect/>
          </a:stretch>
        </p:blipFill>
        <p:spPr>
          <a:xfrm>
            <a:off x="2378355" y="1097775"/>
            <a:ext cx="7435289" cy="5531006"/>
          </a:xfrm>
          <a:prstGeom prst="rect">
            <a:avLst/>
          </a:prstGeom>
          <a:effectLst>
            <a:softEdge rad="215900"/>
          </a:effectLst>
        </p:spPr>
      </p:pic>
      <p:sp>
        <p:nvSpPr>
          <p:cNvPr id="3" name="灯片编号占位符 2">
            <a:extLst>
              <a:ext uri="{FF2B5EF4-FFF2-40B4-BE49-F238E27FC236}">
                <a16:creationId xmlns:a16="http://schemas.microsoft.com/office/drawing/2014/main" id="{30745ED0-A78D-4AB2-B3D0-B1A5D2B5D012}"/>
              </a:ext>
            </a:extLst>
          </p:cNvPr>
          <p:cNvSpPr>
            <a:spLocks noGrp="1"/>
          </p:cNvSpPr>
          <p:nvPr>
            <p:ph type="sldNum" sz="quarter" idx="12"/>
          </p:nvPr>
        </p:nvSpPr>
        <p:spPr/>
        <p:txBody>
          <a:bodyPr/>
          <a:lstStyle/>
          <a:p>
            <a:fld id="{7D9BB5D0-35E4-459D-AEF3-FE4D7C45CC19}" type="slidenum">
              <a:rPr lang="zh-CN" altLang="en-US" smtClean="0"/>
              <a:t>23</a:t>
            </a:fld>
            <a:endParaRPr lang="zh-CN" altLang="en-US"/>
          </a:p>
        </p:txBody>
      </p:sp>
    </p:spTree>
    <p:extLst>
      <p:ext uri="{BB962C8B-B14F-4D97-AF65-F5344CB8AC3E}">
        <p14:creationId xmlns:p14="http://schemas.microsoft.com/office/powerpoint/2010/main" val="285523160"/>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1665"/>
          </a:xfrm>
          <a:prstGeom prst="rect">
            <a:avLst/>
          </a:prstGeom>
          <a:noFill/>
        </p:spPr>
        <p:txBody>
          <a:bodyPr wrap="square">
            <a:spAutoFit/>
          </a:bodyPr>
          <a:lstStyle/>
          <a:p>
            <a:pPr lvl="0">
              <a:defRPr/>
            </a:pPr>
            <a:r>
              <a:rPr lang="en-US" altLang="zh-CN" sz="2400" dirty="0">
                <a:solidFill>
                  <a:prstClr val="white"/>
                </a:solidFill>
              </a:rPr>
              <a:t>4.1 </a:t>
            </a:r>
            <a:r>
              <a:rPr lang="zh-CN" altLang="en-US" sz="2400" dirty="0">
                <a:solidFill>
                  <a:prstClr val="white"/>
                </a:solidFill>
              </a:rPr>
              <a:t>执行机构运动与动力设计</a:t>
            </a:r>
            <a:endPar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endParaRP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4">
              <a:biLevel thresh="25000"/>
            </a:blip>
            <a:srcRect l="30188"/>
            <a:stretch>
              <a:fillRect/>
            </a:stretch>
          </p:blipFill>
          <p:spPr>
            <a:xfrm>
              <a:off x="10483399" y="211219"/>
              <a:ext cx="1621585" cy="701101"/>
            </a:xfrm>
            <a:prstGeom prst="rect">
              <a:avLst/>
            </a:prstGeom>
          </p:spPr>
        </p:pic>
      </p:grpSp>
      <p:pic>
        <p:nvPicPr>
          <p:cNvPr id="16" name="图片 15">
            <a:extLst>
              <a:ext uri="{FF2B5EF4-FFF2-40B4-BE49-F238E27FC236}">
                <a16:creationId xmlns:a16="http://schemas.microsoft.com/office/drawing/2014/main" id="{28B23B73-F068-4242-B07C-799ABBD6A2E6}"/>
              </a:ext>
            </a:extLst>
          </p:cNvPr>
          <p:cNvPicPr/>
          <p:nvPr/>
        </p:nvPicPr>
        <p:blipFill>
          <a:blip r:embed="rId5">
            <a:extLst>
              <a:ext uri="{28A0092B-C50C-407E-A947-70E740481C1C}">
                <a14:useLocalDpi xmlns:a14="http://schemas.microsoft.com/office/drawing/2010/main" val="0"/>
              </a:ext>
            </a:extLst>
          </a:blip>
          <a:srcRect/>
          <a:stretch/>
        </p:blipFill>
        <p:spPr>
          <a:xfrm>
            <a:off x="2515818" y="1097775"/>
            <a:ext cx="7160363" cy="5531006"/>
          </a:xfrm>
          <a:prstGeom prst="rect">
            <a:avLst/>
          </a:prstGeom>
          <a:effectLst>
            <a:softEdge rad="215900"/>
          </a:effectLst>
        </p:spPr>
      </p:pic>
      <p:grpSp>
        <p:nvGrpSpPr>
          <p:cNvPr id="2" name="组合 1">
            <a:extLst>
              <a:ext uri="{FF2B5EF4-FFF2-40B4-BE49-F238E27FC236}">
                <a16:creationId xmlns:a16="http://schemas.microsoft.com/office/drawing/2014/main" id="{2933B81B-0A01-4EAF-9439-45EC4EDF1921}"/>
              </a:ext>
            </a:extLst>
          </p:cNvPr>
          <p:cNvGrpSpPr/>
          <p:nvPr/>
        </p:nvGrpSpPr>
        <p:grpSpPr>
          <a:xfrm>
            <a:off x="268510" y="2277918"/>
            <a:ext cx="2247308" cy="430820"/>
            <a:chOff x="268510" y="2277918"/>
            <a:chExt cx="2247308" cy="430820"/>
          </a:xfrm>
        </p:grpSpPr>
        <p:sp>
          <p:nvSpPr>
            <p:cNvPr id="8" name="矩形 7">
              <a:extLst>
                <a:ext uri="{FF2B5EF4-FFF2-40B4-BE49-F238E27FC236}">
                  <a16:creationId xmlns:a16="http://schemas.microsoft.com/office/drawing/2014/main" id="{17C8FFC5-D52C-4D00-9C20-5A6F069DD2A1}"/>
                </a:ext>
              </a:extLst>
            </p:cNvPr>
            <p:cNvSpPr/>
            <p:nvPr/>
          </p:nvSpPr>
          <p:spPr>
            <a:xfrm>
              <a:off x="268510" y="2277918"/>
              <a:ext cx="2247308" cy="430820"/>
            </a:xfrm>
            <a:prstGeom prst="rect">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文本框 8">
              <a:extLst>
                <a:ext uri="{FF2B5EF4-FFF2-40B4-BE49-F238E27FC236}">
                  <a16:creationId xmlns:a16="http://schemas.microsoft.com/office/drawing/2014/main" id="{6DFD0B26-554B-4732-B5B3-6C1FAFEB67F4}"/>
                </a:ext>
              </a:extLst>
            </p:cNvPr>
            <p:cNvSpPr txBox="1"/>
            <p:nvPr/>
          </p:nvSpPr>
          <p:spPr>
            <a:xfrm>
              <a:off x="826957" y="2339316"/>
              <a:ext cx="1130439" cy="338554"/>
            </a:xfrm>
            <a:prstGeom prst="rect">
              <a:avLst/>
            </a:prstGeom>
            <a:noFill/>
          </p:spPr>
          <p:txBody>
            <a:bodyPr wrap="none" rtlCol="0">
              <a:spAutoFit/>
            </a:bodyPr>
            <a:lstStyle/>
            <a:p>
              <a:pPr algn="ctr"/>
              <a:r>
                <a:rPr lang="zh-CN" altLang="en-US" sz="1600" b="1" dirty="0">
                  <a:solidFill>
                    <a:schemeClr val="bg1"/>
                  </a:solidFill>
                </a:rPr>
                <a:t>① 展品柜</a:t>
              </a:r>
            </a:p>
          </p:txBody>
        </p:sp>
      </p:grpSp>
      <p:grpSp>
        <p:nvGrpSpPr>
          <p:cNvPr id="11" name="组合 10">
            <a:extLst>
              <a:ext uri="{FF2B5EF4-FFF2-40B4-BE49-F238E27FC236}">
                <a16:creationId xmlns:a16="http://schemas.microsoft.com/office/drawing/2014/main" id="{C32CA525-9190-4004-8BB7-832BBD31DDB8}"/>
              </a:ext>
            </a:extLst>
          </p:cNvPr>
          <p:cNvGrpSpPr/>
          <p:nvPr/>
        </p:nvGrpSpPr>
        <p:grpSpPr>
          <a:xfrm>
            <a:off x="268510" y="3213590"/>
            <a:ext cx="2247308" cy="430820"/>
            <a:chOff x="268510" y="2277918"/>
            <a:chExt cx="2247308" cy="430820"/>
          </a:xfrm>
        </p:grpSpPr>
        <p:sp>
          <p:nvSpPr>
            <p:cNvPr id="12" name="矩形 11">
              <a:extLst>
                <a:ext uri="{FF2B5EF4-FFF2-40B4-BE49-F238E27FC236}">
                  <a16:creationId xmlns:a16="http://schemas.microsoft.com/office/drawing/2014/main" id="{F2CB1EDE-7D95-44B8-B07F-5ACB3C7C970F}"/>
                </a:ext>
              </a:extLst>
            </p:cNvPr>
            <p:cNvSpPr/>
            <p:nvPr/>
          </p:nvSpPr>
          <p:spPr>
            <a:xfrm>
              <a:off x="268510" y="2277918"/>
              <a:ext cx="2247308" cy="430820"/>
            </a:xfrm>
            <a:prstGeom prst="rect">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文本框 12">
              <a:extLst>
                <a:ext uri="{FF2B5EF4-FFF2-40B4-BE49-F238E27FC236}">
                  <a16:creationId xmlns:a16="http://schemas.microsoft.com/office/drawing/2014/main" id="{1A24C5DF-0500-4FE7-8916-189EF6546898}"/>
                </a:ext>
              </a:extLst>
            </p:cNvPr>
            <p:cNvSpPr txBox="1"/>
            <p:nvPr/>
          </p:nvSpPr>
          <p:spPr>
            <a:xfrm>
              <a:off x="724366" y="2339316"/>
              <a:ext cx="1335622" cy="338554"/>
            </a:xfrm>
            <a:prstGeom prst="rect">
              <a:avLst/>
            </a:prstGeom>
            <a:noFill/>
          </p:spPr>
          <p:txBody>
            <a:bodyPr wrap="none" rtlCol="0">
              <a:spAutoFit/>
            </a:bodyPr>
            <a:lstStyle/>
            <a:p>
              <a:pPr algn="ctr"/>
              <a:r>
                <a:rPr lang="zh-CN" altLang="en-US" sz="1600" b="1" dirty="0">
                  <a:solidFill>
                    <a:schemeClr val="bg1"/>
                  </a:solidFill>
                </a:rPr>
                <a:t>② 卫星模型</a:t>
              </a:r>
            </a:p>
          </p:txBody>
        </p:sp>
      </p:grpSp>
      <p:grpSp>
        <p:nvGrpSpPr>
          <p:cNvPr id="14" name="组合 13">
            <a:extLst>
              <a:ext uri="{FF2B5EF4-FFF2-40B4-BE49-F238E27FC236}">
                <a16:creationId xmlns:a16="http://schemas.microsoft.com/office/drawing/2014/main" id="{9D7A1C8F-64F4-479E-9427-CEF354FF907F}"/>
              </a:ext>
            </a:extLst>
          </p:cNvPr>
          <p:cNvGrpSpPr/>
          <p:nvPr/>
        </p:nvGrpSpPr>
        <p:grpSpPr>
          <a:xfrm>
            <a:off x="268510" y="4149263"/>
            <a:ext cx="2247308" cy="430820"/>
            <a:chOff x="268510" y="2277918"/>
            <a:chExt cx="2247308" cy="430820"/>
          </a:xfrm>
        </p:grpSpPr>
        <p:sp>
          <p:nvSpPr>
            <p:cNvPr id="15" name="矩形 14">
              <a:extLst>
                <a:ext uri="{FF2B5EF4-FFF2-40B4-BE49-F238E27FC236}">
                  <a16:creationId xmlns:a16="http://schemas.microsoft.com/office/drawing/2014/main" id="{B0DBD9D5-045C-40F0-AA45-C95303D8FD08}"/>
                </a:ext>
              </a:extLst>
            </p:cNvPr>
            <p:cNvSpPr/>
            <p:nvPr/>
          </p:nvSpPr>
          <p:spPr>
            <a:xfrm>
              <a:off x="268510" y="2277918"/>
              <a:ext cx="2247308" cy="430820"/>
            </a:xfrm>
            <a:prstGeom prst="rect">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文本框 16">
              <a:extLst>
                <a:ext uri="{FF2B5EF4-FFF2-40B4-BE49-F238E27FC236}">
                  <a16:creationId xmlns:a16="http://schemas.microsoft.com/office/drawing/2014/main" id="{5F791445-8B5A-48EF-94D5-2D8485FB5E3D}"/>
                </a:ext>
              </a:extLst>
            </p:cNvPr>
            <p:cNvSpPr txBox="1"/>
            <p:nvPr/>
          </p:nvSpPr>
          <p:spPr>
            <a:xfrm>
              <a:off x="724366" y="2339316"/>
              <a:ext cx="1335622" cy="338554"/>
            </a:xfrm>
            <a:prstGeom prst="rect">
              <a:avLst/>
            </a:prstGeom>
            <a:noFill/>
          </p:spPr>
          <p:txBody>
            <a:bodyPr wrap="none" rtlCol="0">
              <a:spAutoFit/>
            </a:bodyPr>
            <a:lstStyle/>
            <a:p>
              <a:pPr algn="ctr"/>
              <a:r>
                <a:rPr lang="zh-CN" altLang="en-US" sz="1600" b="1" dirty="0">
                  <a:solidFill>
                    <a:schemeClr val="bg1"/>
                  </a:solidFill>
                </a:rPr>
                <a:t>③ 太阳模型</a:t>
              </a:r>
            </a:p>
          </p:txBody>
        </p:sp>
      </p:grpSp>
      <p:grpSp>
        <p:nvGrpSpPr>
          <p:cNvPr id="18" name="组合 17">
            <a:extLst>
              <a:ext uri="{FF2B5EF4-FFF2-40B4-BE49-F238E27FC236}">
                <a16:creationId xmlns:a16="http://schemas.microsoft.com/office/drawing/2014/main" id="{13D79EB6-43C0-41C6-AC64-77C14A782C2F}"/>
              </a:ext>
            </a:extLst>
          </p:cNvPr>
          <p:cNvGrpSpPr/>
          <p:nvPr/>
        </p:nvGrpSpPr>
        <p:grpSpPr>
          <a:xfrm>
            <a:off x="268510" y="5063663"/>
            <a:ext cx="2247308" cy="430820"/>
            <a:chOff x="268510" y="2277918"/>
            <a:chExt cx="2247308" cy="430820"/>
          </a:xfrm>
        </p:grpSpPr>
        <p:sp>
          <p:nvSpPr>
            <p:cNvPr id="19" name="矩形 18">
              <a:extLst>
                <a:ext uri="{FF2B5EF4-FFF2-40B4-BE49-F238E27FC236}">
                  <a16:creationId xmlns:a16="http://schemas.microsoft.com/office/drawing/2014/main" id="{174F86C0-5093-4F61-9D10-030B0F7EECBC}"/>
                </a:ext>
              </a:extLst>
            </p:cNvPr>
            <p:cNvSpPr/>
            <p:nvPr/>
          </p:nvSpPr>
          <p:spPr>
            <a:xfrm>
              <a:off x="268510" y="2277918"/>
              <a:ext cx="2247308" cy="430820"/>
            </a:xfrm>
            <a:prstGeom prst="rect">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文本框 19">
              <a:extLst>
                <a:ext uri="{FF2B5EF4-FFF2-40B4-BE49-F238E27FC236}">
                  <a16:creationId xmlns:a16="http://schemas.microsoft.com/office/drawing/2014/main" id="{54F8C6DA-CE75-4FAB-9918-48BB0200A525}"/>
                </a:ext>
              </a:extLst>
            </p:cNvPr>
            <p:cNvSpPr txBox="1"/>
            <p:nvPr/>
          </p:nvSpPr>
          <p:spPr>
            <a:xfrm>
              <a:off x="724366" y="2339316"/>
              <a:ext cx="1335622" cy="338554"/>
            </a:xfrm>
            <a:prstGeom prst="rect">
              <a:avLst/>
            </a:prstGeom>
            <a:noFill/>
          </p:spPr>
          <p:txBody>
            <a:bodyPr wrap="none" rtlCol="0">
              <a:spAutoFit/>
            </a:bodyPr>
            <a:lstStyle/>
            <a:p>
              <a:pPr algn="ctr"/>
              <a:r>
                <a:rPr lang="zh-CN" altLang="en-US" sz="1600" b="1" dirty="0">
                  <a:solidFill>
                    <a:schemeClr val="bg1"/>
                  </a:solidFill>
                </a:rPr>
                <a:t>④ 地球模型</a:t>
              </a:r>
            </a:p>
          </p:txBody>
        </p:sp>
      </p:grpSp>
      <p:grpSp>
        <p:nvGrpSpPr>
          <p:cNvPr id="21" name="组合 20">
            <a:extLst>
              <a:ext uri="{FF2B5EF4-FFF2-40B4-BE49-F238E27FC236}">
                <a16:creationId xmlns:a16="http://schemas.microsoft.com/office/drawing/2014/main" id="{E670683F-B13B-4724-B713-9C7140EA4D06}"/>
              </a:ext>
            </a:extLst>
          </p:cNvPr>
          <p:cNvGrpSpPr/>
          <p:nvPr/>
        </p:nvGrpSpPr>
        <p:grpSpPr>
          <a:xfrm>
            <a:off x="9676181" y="2549803"/>
            <a:ext cx="2247308" cy="430820"/>
            <a:chOff x="268510" y="2277918"/>
            <a:chExt cx="2247308" cy="430820"/>
          </a:xfrm>
        </p:grpSpPr>
        <p:sp>
          <p:nvSpPr>
            <p:cNvPr id="22" name="矩形 21">
              <a:extLst>
                <a:ext uri="{FF2B5EF4-FFF2-40B4-BE49-F238E27FC236}">
                  <a16:creationId xmlns:a16="http://schemas.microsoft.com/office/drawing/2014/main" id="{E7984862-F662-4B0D-A2E3-CE8F494D26F4}"/>
                </a:ext>
              </a:extLst>
            </p:cNvPr>
            <p:cNvSpPr/>
            <p:nvPr/>
          </p:nvSpPr>
          <p:spPr>
            <a:xfrm>
              <a:off x="268510" y="2277918"/>
              <a:ext cx="2247308" cy="430820"/>
            </a:xfrm>
            <a:prstGeom prst="rect">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文本框 22">
              <a:extLst>
                <a:ext uri="{FF2B5EF4-FFF2-40B4-BE49-F238E27FC236}">
                  <a16:creationId xmlns:a16="http://schemas.microsoft.com/office/drawing/2014/main" id="{4D0546A9-29C2-4766-902E-4F53F7BDEA4C}"/>
                </a:ext>
              </a:extLst>
            </p:cNvPr>
            <p:cNvSpPr txBox="1"/>
            <p:nvPr/>
          </p:nvSpPr>
          <p:spPr>
            <a:xfrm>
              <a:off x="826958" y="2339316"/>
              <a:ext cx="1130439" cy="338554"/>
            </a:xfrm>
            <a:prstGeom prst="rect">
              <a:avLst/>
            </a:prstGeom>
            <a:noFill/>
          </p:spPr>
          <p:txBody>
            <a:bodyPr wrap="none" rtlCol="0">
              <a:spAutoFit/>
            </a:bodyPr>
            <a:lstStyle/>
            <a:p>
              <a:pPr algn="ctr"/>
              <a:r>
                <a:rPr lang="zh-CN" altLang="en-US" sz="1600" b="1" dirty="0">
                  <a:solidFill>
                    <a:schemeClr val="bg1"/>
                  </a:solidFill>
                </a:rPr>
                <a:t>⑤ 操作台</a:t>
              </a:r>
            </a:p>
          </p:txBody>
        </p:sp>
      </p:grpSp>
      <p:grpSp>
        <p:nvGrpSpPr>
          <p:cNvPr id="24" name="组合 23">
            <a:extLst>
              <a:ext uri="{FF2B5EF4-FFF2-40B4-BE49-F238E27FC236}">
                <a16:creationId xmlns:a16="http://schemas.microsoft.com/office/drawing/2014/main" id="{249FAE05-E3FD-460C-ABE0-A1EBA530A548}"/>
              </a:ext>
            </a:extLst>
          </p:cNvPr>
          <p:cNvGrpSpPr/>
          <p:nvPr/>
        </p:nvGrpSpPr>
        <p:grpSpPr>
          <a:xfrm>
            <a:off x="9676181" y="3485476"/>
            <a:ext cx="2247308" cy="430820"/>
            <a:chOff x="268510" y="2277918"/>
            <a:chExt cx="2247308" cy="430820"/>
          </a:xfrm>
        </p:grpSpPr>
        <p:sp>
          <p:nvSpPr>
            <p:cNvPr id="25" name="矩形 24">
              <a:extLst>
                <a:ext uri="{FF2B5EF4-FFF2-40B4-BE49-F238E27FC236}">
                  <a16:creationId xmlns:a16="http://schemas.microsoft.com/office/drawing/2014/main" id="{0A3135ED-9747-4665-A370-14C7CC93F525}"/>
                </a:ext>
              </a:extLst>
            </p:cNvPr>
            <p:cNvSpPr/>
            <p:nvPr/>
          </p:nvSpPr>
          <p:spPr>
            <a:xfrm>
              <a:off x="268510" y="2277918"/>
              <a:ext cx="2247308" cy="430820"/>
            </a:xfrm>
            <a:prstGeom prst="rect">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文本框 25">
              <a:extLst>
                <a:ext uri="{FF2B5EF4-FFF2-40B4-BE49-F238E27FC236}">
                  <a16:creationId xmlns:a16="http://schemas.microsoft.com/office/drawing/2014/main" id="{8D840296-1475-42C4-B64D-990A5EF381E0}"/>
                </a:ext>
              </a:extLst>
            </p:cNvPr>
            <p:cNvSpPr txBox="1"/>
            <p:nvPr/>
          </p:nvSpPr>
          <p:spPr>
            <a:xfrm>
              <a:off x="929550" y="2339316"/>
              <a:ext cx="925254" cy="338554"/>
            </a:xfrm>
            <a:prstGeom prst="rect">
              <a:avLst/>
            </a:prstGeom>
            <a:noFill/>
          </p:spPr>
          <p:txBody>
            <a:bodyPr wrap="none" rtlCol="0">
              <a:spAutoFit/>
            </a:bodyPr>
            <a:lstStyle/>
            <a:p>
              <a:pPr algn="ctr"/>
              <a:r>
                <a:rPr lang="zh-CN" altLang="en-US" sz="1600" b="1" dirty="0">
                  <a:solidFill>
                    <a:schemeClr val="bg1"/>
                  </a:solidFill>
                </a:rPr>
                <a:t>⑥ 摇杆</a:t>
              </a:r>
            </a:p>
          </p:txBody>
        </p:sp>
      </p:grpSp>
      <p:grpSp>
        <p:nvGrpSpPr>
          <p:cNvPr id="27" name="组合 26">
            <a:extLst>
              <a:ext uri="{FF2B5EF4-FFF2-40B4-BE49-F238E27FC236}">
                <a16:creationId xmlns:a16="http://schemas.microsoft.com/office/drawing/2014/main" id="{96C16CD3-28BE-4781-A068-5C658B04BE8C}"/>
              </a:ext>
            </a:extLst>
          </p:cNvPr>
          <p:cNvGrpSpPr/>
          <p:nvPr/>
        </p:nvGrpSpPr>
        <p:grpSpPr>
          <a:xfrm>
            <a:off x="9676181" y="4399876"/>
            <a:ext cx="2247308" cy="430820"/>
            <a:chOff x="268510" y="2277918"/>
            <a:chExt cx="2247308" cy="430820"/>
          </a:xfrm>
        </p:grpSpPr>
        <p:sp>
          <p:nvSpPr>
            <p:cNvPr id="28" name="矩形 27">
              <a:extLst>
                <a:ext uri="{FF2B5EF4-FFF2-40B4-BE49-F238E27FC236}">
                  <a16:creationId xmlns:a16="http://schemas.microsoft.com/office/drawing/2014/main" id="{4E27E046-F141-448C-929A-1C57F2145CDD}"/>
                </a:ext>
              </a:extLst>
            </p:cNvPr>
            <p:cNvSpPr/>
            <p:nvPr/>
          </p:nvSpPr>
          <p:spPr>
            <a:xfrm>
              <a:off x="268510" y="2277918"/>
              <a:ext cx="2247308" cy="430820"/>
            </a:xfrm>
            <a:prstGeom prst="rect">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文本框 28">
              <a:extLst>
                <a:ext uri="{FF2B5EF4-FFF2-40B4-BE49-F238E27FC236}">
                  <a16:creationId xmlns:a16="http://schemas.microsoft.com/office/drawing/2014/main" id="{F23F81CE-E890-466D-B55A-73A4074E772E}"/>
                </a:ext>
              </a:extLst>
            </p:cNvPr>
            <p:cNvSpPr txBox="1"/>
            <p:nvPr/>
          </p:nvSpPr>
          <p:spPr>
            <a:xfrm>
              <a:off x="826958" y="2339316"/>
              <a:ext cx="1130439" cy="338554"/>
            </a:xfrm>
            <a:prstGeom prst="rect">
              <a:avLst/>
            </a:prstGeom>
            <a:noFill/>
          </p:spPr>
          <p:txBody>
            <a:bodyPr wrap="none" rtlCol="0">
              <a:spAutoFit/>
            </a:bodyPr>
            <a:lstStyle/>
            <a:p>
              <a:pPr algn="ctr"/>
              <a:r>
                <a:rPr lang="zh-CN" altLang="en-US" sz="1600" b="1" dirty="0">
                  <a:solidFill>
                    <a:schemeClr val="bg1"/>
                  </a:solidFill>
                </a:rPr>
                <a:t>⑦ 显示屏</a:t>
              </a:r>
            </a:p>
          </p:txBody>
        </p:sp>
      </p:grpSp>
      <p:sp>
        <p:nvSpPr>
          <p:cNvPr id="4" name="灯片编号占位符 3">
            <a:extLst>
              <a:ext uri="{FF2B5EF4-FFF2-40B4-BE49-F238E27FC236}">
                <a16:creationId xmlns:a16="http://schemas.microsoft.com/office/drawing/2014/main" id="{D534C8B4-DAD6-4DEF-91F1-B54B8D23C555}"/>
              </a:ext>
            </a:extLst>
          </p:cNvPr>
          <p:cNvSpPr>
            <a:spLocks noGrp="1"/>
          </p:cNvSpPr>
          <p:nvPr>
            <p:ph type="sldNum" sz="quarter" idx="12"/>
          </p:nvPr>
        </p:nvSpPr>
        <p:spPr/>
        <p:txBody>
          <a:bodyPr/>
          <a:lstStyle/>
          <a:p>
            <a:fld id="{7D9BB5D0-35E4-459D-AEF3-FE4D7C45CC19}" type="slidenum">
              <a:rPr lang="zh-CN" altLang="en-US" smtClean="0"/>
              <a:t>24</a:t>
            </a:fld>
            <a:endParaRPr lang="zh-CN" altLang="en-US"/>
          </a:p>
        </p:txBody>
      </p:sp>
    </p:spTree>
    <p:extLst>
      <p:ext uri="{BB962C8B-B14F-4D97-AF65-F5344CB8AC3E}">
        <p14:creationId xmlns:p14="http://schemas.microsoft.com/office/powerpoint/2010/main" val="2151086130"/>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1665"/>
          </a:xfrm>
          <a:prstGeom prst="rect">
            <a:avLst/>
          </a:prstGeom>
          <a:noFill/>
        </p:spPr>
        <p:txBody>
          <a:bodyPr wrap="square">
            <a:spAutoFit/>
          </a:bodyPr>
          <a:lstStyle/>
          <a:p>
            <a:pPr lvl="0">
              <a:defRPr/>
            </a:pPr>
            <a:r>
              <a:rPr lang="zh-CN" altLang="en-US" sz="2400" dirty="0">
                <a:solidFill>
                  <a:prstClr val="white"/>
                </a:solidFill>
                <a:latin typeface="HelveticaExt-Normal"/>
                <a:ea typeface="OPPOSans B"/>
              </a:rPr>
              <a:t>附：小组分工</a:t>
            </a: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4">
              <a:biLevel thresh="25000"/>
            </a:blip>
            <a:srcRect l="30188"/>
            <a:stretch>
              <a:fillRect/>
            </a:stretch>
          </p:blipFill>
          <p:spPr>
            <a:xfrm>
              <a:off x="10483399" y="211219"/>
              <a:ext cx="1621585" cy="701101"/>
            </a:xfrm>
            <a:prstGeom prst="rect">
              <a:avLst/>
            </a:prstGeom>
          </p:spPr>
        </p:pic>
      </p:grpSp>
      <p:graphicFrame>
        <p:nvGraphicFramePr>
          <p:cNvPr id="2" name="表格 1">
            <a:extLst>
              <a:ext uri="{FF2B5EF4-FFF2-40B4-BE49-F238E27FC236}">
                <a16:creationId xmlns:a16="http://schemas.microsoft.com/office/drawing/2014/main" id="{24A10C4A-CA6E-5A34-8D6E-4E1CB340A779}"/>
              </a:ext>
            </a:extLst>
          </p:cNvPr>
          <p:cNvGraphicFramePr>
            <a:graphicFrameLocks noGrp="1"/>
          </p:cNvGraphicFramePr>
          <p:nvPr/>
        </p:nvGraphicFramePr>
        <p:xfrm>
          <a:off x="1540555" y="1603224"/>
          <a:ext cx="9110890" cy="4189894"/>
        </p:xfrm>
        <a:graphic>
          <a:graphicData uri="http://schemas.openxmlformats.org/drawingml/2006/table">
            <a:tbl>
              <a:tblPr firstRow="1" bandRow="1">
                <a:tableStyleId>{5C22544A-7EE6-4342-B048-85BDC9FD1C3A}</a:tableStyleId>
              </a:tblPr>
              <a:tblGrid>
                <a:gridCol w="4555445">
                  <a:extLst>
                    <a:ext uri="{9D8B030D-6E8A-4147-A177-3AD203B41FA5}">
                      <a16:colId xmlns:a16="http://schemas.microsoft.com/office/drawing/2014/main" val="2960751985"/>
                    </a:ext>
                  </a:extLst>
                </a:gridCol>
                <a:gridCol w="4555445">
                  <a:extLst>
                    <a:ext uri="{9D8B030D-6E8A-4147-A177-3AD203B41FA5}">
                      <a16:colId xmlns:a16="http://schemas.microsoft.com/office/drawing/2014/main" val="2724842575"/>
                    </a:ext>
                  </a:extLst>
                </a:gridCol>
              </a:tblGrid>
              <a:tr h="716529">
                <a:tc>
                  <a:txBody>
                    <a:bodyPr/>
                    <a:lstStyle/>
                    <a:p>
                      <a:pPr algn="ctr"/>
                      <a:r>
                        <a:rPr lang="zh-CN" altLang="en-US" sz="2400" dirty="0">
                          <a:solidFill>
                            <a:schemeClr val="bg1"/>
                          </a:solidFill>
                        </a:rPr>
                        <a:t>组员名称</a:t>
                      </a:r>
                    </a:p>
                  </a:txBody>
                  <a:tcPr anchor="ctr"/>
                </a:tc>
                <a:tc>
                  <a:txBody>
                    <a:bodyPr/>
                    <a:lstStyle/>
                    <a:p>
                      <a:pPr algn="ctr"/>
                      <a:r>
                        <a:rPr lang="zh-CN" altLang="en-US" sz="2400" dirty="0">
                          <a:solidFill>
                            <a:schemeClr val="bg1"/>
                          </a:solidFill>
                        </a:rPr>
                        <a:t>具体分工</a:t>
                      </a:r>
                    </a:p>
                  </a:txBody>
                  <a:tcPr anchor="ctr"/>
                </a:tc>
                <a:extLst>
                  <a:ext uri="{0D108BD9-81ED-4DB2-BD59-A6C34878D82A}">
                    <a16:rowId xmlns:a16="http://schemas.microsoft.com/office/drawing/2014/main" val="4275149588"/>
                  </a:ext>
                </a:extLst>
              </a:tr>
              <a:tr h="678161">
                <a:tc>
                  <a:txBody>
                    <a:bodyPr/>
                    <a:lstStyle/>
                    <a:p>
                      <a:pPr marL="0" lvl="0" algn="ctr" defTabSz="914400" rtl="0" eaLnBrk="1" latinLnBrk="0" hangingPunct="1">
                        <a:lnSpc>
                          <a:spcPct val="150000"/>
                        </a:lnSpc>
                      </a:pPr>
                      <a:r>
                        <a:rPr lang="zh-CN" altLang="en-US" sz="2000" kern="1200" dirty="0">
                          <a:solidFill>
                            <a:schemeClr val="tx1"/>
                          </a:solidFill>
                          <a:effectLst/>
                          <a:latin typeface="+mn-lt"/>
                          <a:ea typeface="+mn-ea"/>
                          <a:cs typeface="+mn-cs"/>
                        </a:rPr>
                        <a:t>薛雨泉</a:t>
                      </a:r>
                      <a:endParaRPr lang="zh-CN" altLang="zh-CN" sz="2000" kern="1200" dirty="0">
                        <a:solidFill>
                          <a:schemeClr val="tx1"/>
                        </a:solidFill>
                        <a:effectLst/>
                        <a:latin typeface="+mn-lt"/>
                        <a:ea typeface="+mn-ea"/>
                        <a:cs typeface="+mn-cs"/>
                      </a:endParaRPr>
                    </a:p>
                  </a:txBody>
                  <a:tcPr anchor="ctr"/>
                </a:tc>
                <a:tc>
                  <a:txBody>
                    <a:bodyPr/>
                    <a:lstStyle/>
                    <a:p>
                      <a:pPr marL="0" lvl="0" algn="ctr" defTabSz="914400" rtl="0" eaLnBrk="1" latinLnBrk="0" hangingPunct="1">
                        <a:lnSpc>
                          <a:spcPct val="150000"/>
                        </a:lnSpc>
                      </a:pPr>
                      <a:r>
                        <a:rPr lang="zh-CN" altLang="en-US" sz="2000" kern="1200" dirty="0">
                          <a:solidFill>
                            <a:schemeClr val="dk1"/>
                          </a:solidFill>
                          <a:effectLst/>
                          <a:latin typeface="+mn-lt"/>
                          <a:ea typeface="+mn-ea"/>
                          <a:cs typeface="+mn-cs"/>
                        </a:rPr>
                        <a:t>整体建模</a:t>
                      </a:r>
                    </a:p>
                  </a:txBody>
                  <a:tcPr anchor="ctr"/>
                </a:tc>
                <a:extLst>
                  <a:ext uri="{0D108BD9-81ED-4DB2-BD59-A6C34878D82A}">
                    <a16:rowId xmlns:a16="http://schemas.microsoft.com/office/drawing/2014/main" val="115690975"/>
                  </a:ext>
                </a:extLst>
              </a:tr>
              <a:tr h="678161">
                <a:tc>
                  <a:txBody>
                    <a:bodyPr/>
                    <a:lstStyle/>
                    <a:p>
                      <a:pPr marL="0" lvl="0" algn="ctr" defTabSz="914400" rtl="0" eaLnBrk="1" latinLnBrk="0" hangingPunct="1">
                        <a:lnSpc>
                          <a:spcPct val="150000"/>
                        </a:lnSpc>
                      </a:pPr>
                      <a:r>
                        <a:rPr lang="zh-CN" altLang="en-US" sz="2000" kern="1200" dirty="0">
                          <a:solidFill>
                            <a:schemeClr val="tx1"/>
                          </a:solidFill>
                          <a:effectLst/>
                          <a:latin typeface="+mn-lt"/>
                          <a:ea typeface="+mn-ea"/>
                          <a:cs typeface="+mn-cs"/>
                        </a:rPr>
                        <a:t>闫济洲</a:t>
                      </a:r>
                      <a:endParaRPr lang="zh-CN" altLang="zh-CN" sz="2000" kern="1200" dirty="0">
                        <a:solidFill>
                          <a:schemeClr val="tx1"/>
                        </a:solidFill>
                        <a:effectLst/>
                        <a:latin typeface="+mn-lt"/>
                        <a:ea typeface="+mn-ea"/>
                        <a:cs typeface="+mn-cs"/>
                      </a:endParaRPr>
                    </a:p>
                  </a:txBody>
                  <a:tcPr anchor="ctr"/>
                </a:tc>
                <a:tc>
                  <a:txBody>
                    <a:bodyPr/>
                    <a:lstStyle/>
                    <a:p>
                      <a:pPr marL="0" lvl="0" algn="ctr" defTabSz="914400" rtl="0" eaLnBrk="1" latinLnBrk="0" hangingPunct="1">
                        <a:lnSpc>
                          <a:spcPct val="150000"/>
                        </a:lnSpc>
                      </a:pPr>
                      <a:r>
                        <a:rPr lang="zh-CN" altLang="en-US" sz="2000" kern="1200" dirty="0">
                          <a:solidFill>
                            <a:schemeClr val="dk1"/>
                          </a:solidFill>
                          <a:effectLst/>
                          <a:latin typeface="+mn-lt"/>
                          <a:ea typeface="+mn-ea"/>
                          <a:cs typeface="+mn-cs"/>
                        </a:rPr>
                        <a:t>整体建模</a:t>
                      </a:r>
                    </a:p>
                  </a:txBody>
                  <a:tcPr anchor="ctr"/>
                </a:tc>
                <a:extLst>
                  <a:ext uri="{0D108BD9-81ED-4DB2-BD59-A6C34878D82A}">
                    <a16:rowId xmlns:a16="http://schemas.microsoft.com/office/drawing/2014/main" val="10973212"/>
                  </a:ext>
                </a:extLst>
              </a:tr>
              <a:tr h="705681">
                <a:tc>
                  <a:txBody>
                    <a:bodyPr/>
                    <a:lstStyle/>
                    <a:p>
                      <a:pPr marL="0" lvl="0" algn="ctr" defTabSz="914400" rtl="0" eaLnBrk="1" latinLnBrk="0" hangingPunct="1">
                        <a:lnSpc>
                          <a:spcPct val="150000"/>
                        </a:lnSpc>
                      </a:pPr>
                      <a:r>
                        <a:rPr lang="zh-CN" altLang="en-US" sz="2000" kern="1200" dirty="0">
                          <a:solidFill>
                            <a:schemeClr val="tx1"/>
                          </a:solidFill>
                          <a:effectLst/>
                          <a:latin typeface="+mn-lt"/>
                          <a:ea typeface="+mn-ea"/>
                          <a:cs typeface="+mn-cs"/>
                        </a:rPr>
                        <a:t>马正华</a:t>
                      </a:r>
                      <a:endParaRPr lang="zh-CN" altLang="zh-CN" sz="2000" kern="1200" dirty="0">
                        <a:solidFill>
                          <a:schemeClr val="tx1"/>
                        </a:solidFill>
                        <a:effectLst/>
                        <a:latin typeface="+mn-lt"/>
                        <a:ea typeface="+mn-ea"/>
                        <a:cs typeface="+mn-cs"/>
                      </a:endParaRPr>
                    </a:p>
                  </a:txBody>
                  <a:tcPr anchor="ctr"/>
                </a:tc>
                <a:tc>
                  <a:txBody>
                    <a:bodyPr/>
                    <a:lstStyle/>
                    <a:p>
                      <a:pPr marL="0" lvl="0" algn="ctr" defTabSz="914400" rtl="0" eaLnBrk="1" latinLnBrk="0" hangingPunct="1">
                        <a:lnSpc>
                          <a:spcPct val="150000"/>
                        </a:lnSpc>
                      </a:pPr>
                      <a:r>
                        <a:rPr lang="zh-CN" altLang="en-US" sz="2000" kern="1200" dirty="0">
                          <a:solidFill>
                            <a:schemeClr val="dk1"/>
                          </a:solidFill>
                          <a:effectLst/>
                          <a:latin typeface="+mn-lt"/>
                          <a:ea typeface="+mn-ea"/>
                          <a:cs typeface="+mn-cs"/>
                        </a:rPr>
                        <a:t>整体建模</a:t>
                      </a:r>
                    </a:p>
                  </a:txBody>
                  <a:tcPr anchor="ctr"/>
                </a:tc>
                <a:extLst>
                  <a:ext uri="{0D108BD9-81ED-4DB2-BD59-A6C34878D82A}">
                    <a16:rowId xmlns:a16="http://schemas.microsoft.com/office/drawing/2014/main" val="3608560885"/>
                  </a:ext>
                </a:extLst>
              </a:tr>
              <a:tr h="705681">
                <a:tc>
                  <a:txBody>
                    <a:bodyPr/>
                    <a:lstStyle/>
                    <a:p>
                      <a:pPr marL="0" lvl="0" algn="ctr" defTabSz="914400" rtl="0" eaLnBrk="1" latinLnBrk="0" hangingPunct="1">
                        <a:lnSpc>
                          <a:spcPct val="150000"/>
                        </a:lnSpc>
                      </a:pPr>
                      <a:r>
                        <a:rPr lang="zh-CN" altLang="en-US" sz="2000" kern="1200" dirty="0">
                          <a:solidFill>
                            <a:schemeClr val="dk1"/>
                          </a:solidFill>
                          <a:effectLst/>
                          <a:latin typeface="+mn-lt"/>
                          <a:ea typeface="+mn-ea"/>
                          <a:cs typeface="+mn-cs"/>
                        </a:rPr>
                        <a:t>张善斌</a:t>
                      </a:r>
                      <a:endParaRPr lang="zh-CN" altLang="zh-CN" sz="2000" kern="1200" dirty="0">
                        <a:solidFill>
                          <a:schemeClr val="dk1"/>
                        </a:solidFill>
                        <a:effectLst/>
                        <a:latin typeface="+mn-lt"/>
                        <a:ea typeface="+mn-ea"/>
                        <a:cs typeface="+mn-cs"/>
                      </a:endParaRPr>
                    </a:p>
                  </a:txBody>
                  <a:tcPr anchor="ctr"/>
                </a:tc>
                <a:tc>
                  <a:txBody>
                    <a:bodyPr/>
                    <a:lstStyle/>
                    <a:p>
                      <a:pPr marL="0" lvl="0" algn="ctr" defTabSz="914400" rtl="0" eaLnBrk="1" latinLnBrk="0" hangingPunct="1">
                        <a:lnSpc>
                          <a:spcPct val="150000"/>
                        </a:lnSpc>
                      </a:pPr>
                      <a:r>
                        <a:rPr lang="zh-CN" altLang="en-US" sz="2000" kern="1200" dirty="0">
                          <a:solidFill>
                            <a:schemeClr val="dk1"/>
                          </a:solidFill>
                          <a:effectLst/>
                          <a:latin typeface="+mn-lt"/>
                          <a:ea typeface="+mn-ea"/>
                          <a:cs typeface="+mn-cs"/>
                        </a:rPr>
                        <a:t>设计书</a:t>
                      </a:r>
                      <a:r>
                        <a:rPr lang="en-US" altLang="zh-CN" sz="2000" kern="1200" dirty="0">
                          <a:solidFill>
                            <a:schemeClr val="dk1"/>
                          </a:solidFill>
                          <a:effectLst/>
                          <a:latin typeface="+mn-lt"/>
                          <a:ea typeface="+mn-ea"/>
                          <a:cs typeface="+mn-cs"/>
                        </a:rPr>
                        <a:t>1-3</a:t>
                      </a:r>
                      <a:r>
                        <a:rPr lang="zh-CN" altLang="en-US" sz="2000" kern="1200" dirty="0">
                          <a:solidFill>
                            <a:schemeClr val="dk1"/>
                          </a:solidFill>
                          <a:effectLst/>
                          <a:latin typeface="+mn-lt"/>
                          <a:ea typeface="+mn-ea"/>
                          <a:cs typeface="+mn-cs"/>
                        </a:rPr>
                        <a:t>编写</a:t>
                      </a:r>
                    </a:p>
                  </a:txBody>
                  <a:tcPr anchor="ctr"/>
                </a:tc>
                <a:extLst>
                  <a:ext uri="{0D108BD9-81ED-4DB2-BD59-A6C34878D82A}">
                    <a16:rowId xmlns:a16="http://schemas.microsoft.com/office/drawing/2014/main" val="926317031"/>
                  </a:ext>
                </a:extLst>
              </a:tr>
              <a:tr h="705681">
                <a:tc>
                  <a:txBody>
                    <a:bodyPr/>
                    <a:lstStyle/>
                    <a:p>
                      <a:pPr marL="0" lvl="0" algn="ctr" defTabSz="914400" rtl="0" eaLnBrk="1" latinLnBrk="0" hangingPunct="1">
                        <a:lnSpc>
                          <a:spcPct val="150000"/>
                        </a:lnSpc>
                      </a:pPr>
                      <a:r>
                        <a:rPr lang="zh-CN" altLang="en-US" sz="2000" kern="1200" dirty="0">
                          <a:solidFill>
                            <a:schemeClr val="dk1"/>
                          </a:solidFill>
                          <a:effectLst/>
                          <a:latin typeface="+mn-lt"/>
                          <a:ea typeface="+mn-ea"/>
                          <a:cs typeface="+mn-cs"/>
                        </a:rPr>
                        <a:t>韦朗</a:t>
                      </a:r>
                      <a:endParaRPr lang="zh-CN" altLang="zh-CN" sz="2000" kern="1200" dirty="0">
                        <a:solidFill>
                          <a:schemeClr val="dk1"/>
                        </a:solidFill>
                        <a:effectLst/>
                        <a:latin typeface="+mn-lt"/>
                        <a:ea typeface="+mn-ea"/>
                        <a:cs typeface="+mn-cs"/>
                      </a:endParaRPr>
                    </a:p>
                  </a:txBody>
                  <a:tcPr anchor="ctr"/>
                </a:tc>
                <a:tc>
                  <a:txBody>
                    <a:bodyPr/>
                    <a:lstStyle/>
                    <a:p>
                      <a:pPr marL="0" lvl="0" algn="ctr" defTabSz="914400" rtl="0" eaLnBrk="1" latinLnBrk="0" hangingPunct="1">
                        <a:lnSpc>
                          <a:spcPct val="150000"/>
                        </a:lnSpc>
                      </a:pPr>
                      <a:r>
                        <a:rPr lang="zh-CN" altLang="en-US" sz="2000" kern="1200" dirty="0">
                          <a:solidFill>
                            <a:schemeClr val="dk1"/>
                          </a:solidFill>
                          <a:effectLst/>
                          <a:latin typeface="+mn-lt"/>
                          <a:ea typeface="+mn-ea"/>
                          <a:cs typeface="+mn-cs"/>
                        </a:rPr>
                        <a:t>设计书</a:t>
                      </a:r>
                      <a:r>
                        <a:rPr lang="en-US" altLang="zh-CN" sz="2000" kern="1200" dirty="0">
                          <a:solidFill>
                            <a:schemeClr val="dk1"/>
                          </a:solidFill>
                          <a:effectLst/>
                          <a:latin typeface="+mn-lt"/>
                          <a:ea typeface="+mn-ea"/>
                          <a:cs typeface="+mn-cs"/>
                        </a:rPr>
                        <a:t>4-5</a:t>
                      </a:r>
                      <a:r>
                        <a:rPr lang="zh-CN" altLang="en-US" sz="2000" kern="1200" dirty="0">
                          <a:solidFill>
                            <a:schemeClr val="dk1"/>
                          </a:solidFill>
                          <a:effectLst/>
                          <a:latin typeface="+mn-lt"/>
                          <a:ea typeface="+mn-ea"/>
                          <a:cs typeface="+mn-cs"/>
                        </a:rPr>
                        <a:t>编写</a:t>
                      </a:r>
                    </a:p>
                  </a:txBody>
                  <a:tcPr anchor="ctr"/>
                </a:tc>
                <a:extLst>
                  <a:ext uri="{0D108BD9-81ED-4DB2-BD59-A6C34878D82A}">
                    <a16:rowId xmlns:a16="http://schemas.microsoft.com/office/drawing/2014/main" val="4019667057"/>
                  </a:ext>
                </a:extLst>
              </a:tr>
            </a:tbl>
          </a:graphicData>
        </a:graphic>
      </p:graphicFrame>
    </p:spTree>
    <p:extLst>
      <p:ext uri="{BB962C8B-B14F-4D97-AF65-F5344CB8AC3E}">
        <p14:creationId xmlns:p14="http://schemas.microsoft.com/office/powerpoint/2010/main" val="1740431613"/>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组合 57"/>
          <p:cNvGrpSpPr/>
          <p:nvPr/>
        </p:nvGrpSpPr>
        <p:grpSpPr>
          <a:xfrm>
            <a:off x="0" y="0"/>
            <a:ext cx="12192001" cy="5928853"/>
            <a:chOff x="-1" y="-1"/>
            <a:chExt cx="12192001" cy="5928853"/>
          </a:xfrm>
        </p:grpSpPr>
        <p:pic>
          <p:nvPicPr>
            <p:cNvPr id="56" name="图片 55"/>
            <p:cNvPicPr>
              <a:picLocks noChangeAspect="1"/>
            </p:cNvPicPr>
            <p:nvPr/>
          </p:nvPicPr>
          <p:blipFill>
            <a:blip r:embed="rId3" cstate="print">
              <a:extLst>
                <a:ext uri="{28A0092B-C50C-407E-A947-70E740481C1C}">
                  <a14:useLocalDpi xmlns:a14="http://schemas.microsoft.com/office/drawing/2010/main" val="0"/>
                </a:ext>
              </a:extLst>
            </a:blip>
            <a:srcRect t="13518" b="13518"/>
            <a:stretch>
              <a:fillRect/>
            </a:stretch>
          </p:blipFill>
          <p:spPr>
            <a:xfrm>
              <a:off x="1" y="-1"/>
              <a:ext cx="12191999" cy="5928853"/>
            </a:xfrm>
            <a:prstGeom prst="rect">
              <a:avLst/>
            </a:prstGeom>
          </p:spPr>
        </p:pic>
        <p:sp>
          <p:nvSpPr>
            <p:cNvPr id="57" name="矩形 56"/>
            <p:cNvSpPr/>
            <p:nvPr/>
          </p:nvSpPr>
          <p:spPr>
            <a:xfrm>
              <a:off x="-1" y="0"/>
              <a:ext cx="12192000" cy="592885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Calibri" panose="020F0502020204030204"/>
                <a:ea typeface="微软雅黑" panose="020B0503020204020204" charset="-122"/>
                <a:cs typeface="+mn-cs"/>
              </a:endParaRPr>
            </a:p>
          </p:txBody>
        </p:sp>
      </p:grpSp>
      <p:cxnSp>
        <p:nvCxnSpPr>
          <p:cNvPr id="19" name="直接连接符 18"/>
          <p:cNvCxnSpPr/>
          <p:nvPr/>
        </p:nvCxnSpPr>
        <p:spPr>
          <a:xfrm>
            <a:off x="1470025" y="1510384"/>
            <a:ext cx="2639463" cy="0"/>
          </a:xfrm>
          <a:prstGeom prst="line">
            <a:avLst/>
          </a:prstGeom>
          <a:ln w="34925">
            <a:gradFill flip="none" rotWithShape="1">
              <a:gsLst>
                <a:gs pos="0">
                  <a:srgbClr val="703881">
                    <a:alpha val="0"/>
                  </a:srgbClr>
                </a:gs>
                <a:gs pos="100000">
                  <a:srgbClr val="70388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8216106" y="1510384"/>
            <a:ext cx="2455069" cy="0"/>
          </a:xfrm>
          <a:prstGeom prst="line">
            <a:avLst/>
          </a:prstGeom>
          <a:ln w="34925">
            <a:gradFill flip="none" rotWithShape="1">
              <a:gsLst>
                <a:gs pos="0">
                  <a:srgbClr val="703881">
                    <a:alpha val="0"/>
                  </a:srgbClr>
                </a:gs>
                <a:gs pos="100000">
                  <a:srgbClr val="703881"/>
                </a:gs>
              </a:gsLst>
              <a:lin ang="10800000" scaled="1"/>
              <a:tileRect/>
            </a:gradFill>
          </a:ln>
        </p:spPr>
        <p:style>
          <a:lnRef idx="1">
            <a:schemeClr val="accent1"/>
          </a:lnRef>
          <a:fillRef idx="0">
            <a:schemeClr val="accent1"/>
          </a:fillRef>
          <a:effectRef idx="0">
            <a:schemeClr val="accent1"/>
          </a:effectRef>
          <a:fontRef idx="minor">
            <a:schemeClr val="tx1"/>
          </a:fontRef>
        </p:style>
      </p:cxnSp>
      <p:grpSp>
        <p:nvGrpSpPr>
          <p:cNvPr id="54" name="组合 53"/>
          <p:cNvGrpSpPr/>
          <p:nvPr/>
        </p:nvGrpSpPr>
        <p:grpSpPr>
          <a:xfrm>
            <a:off x="1125584" y="2094646"/>
            <a:ext cx="10247709" cy="1504808"/>
            <a:chOff x="2312590" y="2092742"/>
            <a:chExt cx="10247709" cy="1504808"/>
          </a:xfrm>
        </p:grpSpPr>
        <p:sp>
          <p:nvSpPr>
            <p:cNvPr id="37" name="文本框 36"/>
            <p:cNvSpPr txBox="1"/>
            <p:nvPr/>
          </p:nvSpPr>
          <p:spPr>
            <a:xfrm>
              <a:off x="2312590" y="2092742"/>
              <a:ext cx="10247709"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8800" dirty="0">
                  <a:solidFill>
                    <a:prstClr val="black">
                      <a:lumMod val="75000"/>
                      <a:lumOff val="25000"/>
                    </a:prstClr>
                  </a:solidFill>
                  <a:latin typeface="思源黑体 CN Medium" panose="020B0600000000000000" pitchFamily="34" charset="-122"/>
                  <a:ea typeface="思源黑体 CN Medium" panose="020B0600000000000000" pitchFamily="34" charset="-122"/>
                </a:rPr>
                <a:t>感谢大家观看</a:t>
              </a:r>
              <a:endParaRPr kumimoji="0" lang="zh-CN" altLang="en-US" sz="8800" b="0"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38" name="文本框 37"/>
            <p:cNvSpPr txBox="1"/>
            <p:nvPr/>
          </p:nvSpPr>
          <p:spPr>
            <a:xfrm>
              <a:off x="3653035" y="3335940"/>
              <a:ext cx="7566818" cy="261610"/>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11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rPr>
                <a:t>THANK YOU FOR YOUR WATCHING</a:t>
              </a:r>
            </a:p>
          </p:txBody>
        </p:sp>
      </p:grpSp>
      <p:grpSp>
        <p:nvGrpSpPr>
          <p:cNvPr id="53" name="组合 52"/>
          <p:cNvGrpSpPr/>
          <p:nvPr/>
        </p:nvGrpSpPr>
        <p:grpSpPr>
          <a:xfrm>
            <a:off x="6249439" y="4059851"/>
            <a:ext cx="1992067" cy="338554"/>
            <a:chOff x="6249439" y="3970951"/>
            <a:chExt cx="1992067" cy="338554"/>
          </a:xfrm>
        </p:grpSpPr>
        <p:grpSp>
          <p:nvGrpSpPr>
            <p:cNvPr id="45" name="组合 44"/>
            <p:cNvGrpSpPr/>
            <p:nvPr/>
          </p:nvGrpSpPr>
          <p:grpSpPr>
            <a:xfrm>
              <a:off x="6249439" y="3970951"/>
              <a:ext cx="1992067" cy="338554"/>
              <a:chOff x="4408975" y="3969165"/>
              <a:chExt cx="1992067" cy="338554"/>
            </a:xfrm>
          </p:grpSpPr>
          <p:sp>
            <p:nvSpPr>
              <p:cNvPr id="48" name="椭圆 47"/>
              <p:cNvSpPr/>
              <p:nvPr/>
            </p:nvSpPr>
            <p:spPr>
              <a:xfrm>
                <a:off x="4408975" y="3971205"/>
                <a:ext cx="334475" cy="334475"/>
              </a:xfrm>
              <a:prstGeom prst="ellipse">
                <a:avLst/>
              </a:prstGeom>
              <a:solidFill>
                <a:srgbClr val="7038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Calibri" panose="020F0502020204030204"/>
                  <a:ea typeface="微软雅黑" panose="020B0503020204020204" charset="-122"/>
                  <a:cs typeface="+mn-cs"/>
                </a:endParaRPr>
              </a:p>
            </p:txBody>
          </p:sp>
          <p:sp>
            <p:nvSpPr>
              <p:cNvPr id="47" name="文本框 46"/>
              <p:cNvSpPr txBox="1"/>
              <p:nvPr/>
            </p:nvSpPr>
            <p:spPr>
              <a:xfrm>
                <a:off x="4743449" y="3969165"/>
                <a:ext cx="1657593" cy="338554"/>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2024</a:t>
                </a:r>
                <a:r>
                  <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年</a:t>
                </a:r>
                <a:r>
                  <a:rPr kumimoji="0" lang="en-US" altLang="zh-CN"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6</a:t>
                </a:r>
                <a:r>
                  <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月</a:t>
                </a:r>
                <a:r>
                  <a:rPr kumimoji="0" lang="en-US" altLang="zh-CN"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7</a:t>
                </a:r>
                <a:r>
                  <a:rPr kumimoji="0" lang="zh-CN" altLang="en-US" sz="1600" b="0" i="0" u="none" strike="noStrike" kern="1200" cap="none" spc="0" normalizeH="0" baseline="0" noProof="0" dirty="0">
                    <a:ln>
                      <a:noFill/>
                    </a:ln>
                    <a:solidFill>
                      <a:prstClr val="black"/>
                    </a:solidFill>
                    <a:effectLst/>
                    <a:uLnTx/>
                    <a:uFillTx/>
                    <a:latin typeface="思源黑体 CN Medium" panose="020B0600000000000000" pitchFamily="34" charset="-122"/>
                    <a:ea typeface="思源黑体 CN Medium" panose="020B0600000000000000" pitchFamily="34" charset="-122"/>
                    <a:cs typeface="+mn-cs"/>
                  </a:rPr>
                  <a:t>日</a:t>
                </a:r>
              </a:p>
            </p:txBody>
          </p:sp>
        </p:grpSp>
        <p:pic>
          <p:nvPicPr>
            <p:cNvPr id="52" name="图片 51"/>
            <p:cNvPicPr>
              <a:picLocks noChangeAspect="1"/>
            </p:cNvPicPr>
            <p:nvPr/>
          </p:nvPicPr>
          <p:blipFill>
            <a:blip r:embed="rId4"/>
            <a:stretch>
              <a:fillRect/>
            </a:stretch>
          </p:blipFill>
          <p:spPr>
            <a:xfrm>
              <a:off x="6324887" y="4052703"/>
              <a:ext cx="178791" cy="178791"/>
            </a:xfrm>
            <a:prstGeom prst="rect">
              <a:avLst/>
            </a:prstGeom>
          </p:spPr>
        </p:pic>
      </p:grpSp>
      <p:grpSp>
        <p:nvGrpSpPr>
          <p:cNvPr id="40" name="组合 39"/>
          <p:cNvGrpSpPr>
            <a:grpSpLocks noChangeAspect="1"/>
          </p:cNvGrpSpPr>
          <p:nvPr/>
        </p:nvGrpSpPr>
        <p:grpSpPr>
          <a:xfrm>
            <a:off x="4686276" y="1079328"/>
            <a:ext cx="2819449" cy="848482"/>
            <a:chOff x="2685028" y="2876682"/>
            <a:chExt cx="5502784" cy="1656004"/>
          </a:xfrm>
        </p:grpSpPr>
        <p:sp>
          <p:nvSpPr>
            <p:cNvPr id="46" name="i$ľïdê"/>
            <p:cNvSpPr/>
            <p:nvPr userDrawn="1"/>
          </p:nvSpPr>
          <p:spPr>
            <a:xfrm>
              <a:off x="4486927" y="2876682"/>
              <a:ext cx="3699559" cy="1174043"/>
            </a:xfrm>
            <a:custGeom>
              <a:avLst/>
              <a:gdLst>
                <a:gd name="connsiteX0" fmla="*/ 3528743 w 3812022"/>
                <a:gd name="connsiteY0" fmla="*/ 1166183 h 1325394"/>
                <a:gd name="connsiteX1" fmla="*/ 3537795 w 3812022"/>
                <a:gd name="connsiteY1" fmla="*/ 1178430 h 1325394"/>
                <a:gd name="connsiteX2" fmla="*/ 3528743 w 3812022"/>
                <a:gd name="connsiteY2" fmla="*/ 1258302 h 1325394"/>
                <a:gd name="connsiteX3" fmla="*/ 3234282 w 3812022"/>
                <a:gd name="connsiteY3" fmla="*/ 1082322 h 1325394"/>
                <a:gd name="connsiteX4" fmla="*/ 3234282 w 3812022"/>
                <a:gd name="connsiteY4" fmla="*/ 1163814 h 1325394"/>
                <a:gd name="connsiteX5" fmla="*/ 3194545 w 3812022"/>
                <a:gd name="connsiteY5" fmla="*/ 1145948 h 1325394"/>
                <a:gd name="connsiteX6" fmla="*/ 3179436 w 3812022"/>
                <a:gd name="connsiteY6" fmla="*/ 1110272 h 1325394"/>
                <a:gd name="connsiteX7" fmla="*/ 3429169 w 3812022"/>
                <a:gd name="connsiteY7" fmla="*/ 1002179 h 1325394"/>
                <a:gd name="connsiteX8" fmla="*/ 3528210 w 3812022"/>
                <a:gd name="connsiteY8" fmla="*/ 1004309 h 1325394"/>
                <a:gd name="connsiteX9" fmla="*/ 3528210 w 3812022"/>
                <a:gd name="connsiteY9" fmla="*/ 1113467 h 1325394"/>
                <a:gd name="connsiteX10" fmla="*/ 3528210 w 3812022"/>
                <a:gd name="connsiteY10" fmla="*/ 1166183 h 1325394"/>
                <a:gd name="connsiteX11" fmla="*/ 3528210 w 3812022"/>
                <a:gd name="connsiteY11" fmla="*/ 1258302 h 1325394"/>
                <a:gd name="connsiteX12" fmla="*/ 3467508 w 3812022"/>
                <a:gd name="connsiteY12" fmla="*/ 1325394 h 1325394"/>
                <a:gd name="connsiteX13" fmla="*/ 3260373 w 3812022"/>
                <a:gd name="connsiteY13" fmla="*/ 1211443 h 1325394"/>
                <a:gd name="connsiteX14" fmla="*/ 3440351 w 3812022"/>
                <a:gd name="connsiteY14" fmla="*/ 1243925 h 1325394"/>
                <a:gd name="connsiteX15" fmla="*/ 3440351 w 3812022"/>
                <a:gd name="connsiteY15" fmla="*/ 1117727 h 1325394"/>
                <a:gd name="connsiteX16" fmla="*/ 3310959 w 3812022"/>
                <a:gd name="connsiteY16" fmla="*/ 1173105 h 1325394"/>
                <a:gd name="connsiteX17" fmla="*/ 3234282 w 3812022"/>
                <a:gd name="connsiteY17" fmla="*/ 1164053 h 1325394"/>
                <a:gd name="connsiteX18" fmla="*/ 3234282 w 3812022"/>
                <a:gd name="connsiteY18" fmla="*/ 1163814 h 1325394"/>
                <a:gd name="connsiteX19" fmla="*/ 3234814 w 3812022"/>
                <a:gd name="connsiteY19" fmla="*/ 1164053 h 1325394"/>
                <a:gd name="connsiteX20" fmla="*/ 3234814 w 3812022"/>
                <a:gd name="connsiteY20" fmla="*/ 1082051 h 1325394"/>
                <a:gd name="connsiteX21" fmla="*/ 3234282 w 3812022"/>
                <a:gd name="connsiteY21" fmla="*/ 1082322 h 1325394"/>
                <a:gd name="connsiteX22" fmla="*/ 3234282 w 3812022"/>
                <a:gd name="connsiteY22" fmla="*/ 1082051 h 1325394"/>
                <a:gd name="connsiteX23" fmla="*/ 3391896 w 3812022"/>
                <a:gd name="connsiteY23" fmla="*/ 1031465 h 1325394"/>
                <a:gd name="connsiteX24" fmla="*/ 3429169 w 3812022"/>
                <a:gd name="connsiteY24" fmla="*/ 1002179 h 1325394"/>
                <a:gd name="connsiteX25" fmla="*/ 3580394 w 3812022"/>
                <a:gd name="connsiteY25" fmla="*/ 994192 h 1325394"/>
                <a:gd name="connsiteX26" fmla="*/ 3644824 w 3812022"/>
                <a:gd name="connsiteY26" fmla="*/ 1024543 h 1325394"/>
                <a:gd name="connsiteX27" fmla="*/ 3528743 w 3812022"/>
                <a:gd name="connsiteY27" fmla="*/ 1113467 h 1325394"/>
                <a:gd name="connsiteX28" fmla="*/ 3528743 w 3812022"/>
                <a:gd name="connsiteY28" fmla="*/ 1004309 h 1325394"/>
                <a:gd name="connsiteX29" fmla="*/ 3580394 w 3812022"/>
                <a:gd name="connsiteY29" fmla="*/ 994192 h 1325394"/>
                <a:gd name="connsiteX30" fmla="*/ 2529346 w 3812022"/>
                <a:gd name="connsiteY30" fmla="*/ 901606 h 1325394"/>
                <a:gd name="connsiteX31" fmla="*/ 2547916 w 3812022"/>
                <a:gd name="connsiteY31" fmla="*/ 909528 h 1325394"/>
                <a:gd name="connsiteX32" fmla="*/ 2608619 w 3812022"/>
                <a:gd name="connsiteY32" fmla="*/ 977152 h 1325394"/>
                <a:gd name="connsiteX33" fmla="*/ 2718842 w 3812022"/>
                <a:gd name="connsiteY33" fmla="*/ 1051700 h 1325394"/>
                <a:gd name="connsiteX34" fmla="*/ 2803506 w 3812022"/>
                <a:gd name="connsiteY34" fmla="*/ 1057557 h 1325394"/>
                <a:gd name="connsiteX35" fmla="*/ 2668256 w 3812022"/>
                <a:gd name="connsiteY35" fmla="*/ 1154468 h 1325394"/>
                <a:gd name="connsiteX36" fmla="*/ 2629918 w 3812022"/>
                <a:gd name="connsiteY36" fmla="*/ 1145416 h 1325394"/>
                <a:gd name="connsiteX37" fmla="*/ 2608619 w 3812022"/>
                <a:gd name="connsiteY37" fmla="*/ 1124649 h 1325394"/>
                <a:gd name="connsiteX38" fmla="*/ 2518629 w 3812022"/>
                <a:gd name="connsiteY38" fmla="*/ 951061 h 1325394"/>
                <a:gd name="connsiteX39" fmla="*/ 2517565 w 3812022"/>
                <a:gd name="connsiteY39" fmla="*/ 903670 h 1325394"/>
                <a:gd name="connsiteX40" fmla="*/ 2529346 w 3812022"/>
                <a:gd name="connsiteY40" fmla="*/ 901606 h 1325394"/>
                <a:gd name="connsiteX41" fmla="*/ 1595483 w 3812022"/>
                <a:gd name="connsiteY41" fmla="*/ 881273 h 1325394"/>
                <a:gd name="connsiteX42" fmla="*/ 1578801 w 3812022"/>
                <a:gd name="connsiteY42" fmla="*/ 881839 h 1325394"/>
                <a:gd name="connsiteX43" fmla="*/ 1563892 w 3812022"/>
                <a:gd name="connsiteY43" fmla="*/ 881839 h 1325394"/>
                <a:gd name="connsiteX44" fmla="*/ 1552710 w 3812022"/>
                <a:gd name="connsiteY44" fmla="*/ 890358 h 1325394"/>
                <a:gd name="connsiteX45" fmla="*/ 1529281 w 3812022"/>
                <a:gd name="connsiteY45" fmla="*/ 1001647 h 1325394"/>
                <a:gd name="connsiteX46" fmla="*/ 1552710 w 3812022"/>
                <a:gd name="connsiteY46" fmla="*/ 992595 h 1325394"/>
                <a:gd name="connsiteX47" fmla="*/ 1578801 w 3812022"/>
                <a:gd name="connsiteY47" fmla="*/ 977685 h 1325394"/>
                <a:gd name="connsiteX48" fmla="*/ 1630452 w 3812022"/>
                <a:gd name="connsiteY48" fmla="*/ 922307 h 1325394"/>
                <a:gd name="connsiteX49" fmla="*/ 1595483 w 3812022"/>
                <a:gd name="connsiteY49" fmla="*/ 881273 h 1325394"/>
                <a:gd name="connsiteX50" fmla="*/ 578273 w 3812022"/>
                <a:gd name="connsiteY50" fmla="*/ 855746 h 1325394"/>
                <a:gd name="connsiteX51" fmla="*/ 576143 w 3812022"/>
                <a:gd name="connsiteY51" fmla="*/ 870122 h 1325394"/>
                <a:gd name="connsiteX52" fmla="*/ 577208 w 3812022"/>
                <a:gd name="connsiteY52" fmla="*/ 885032 h 1325394"/>
                <a:gd name="connsiteX53" fmla="*/ 577208 w 3812022"/>
                <a:gd name="connsiteY53" fmla="*/ 899409 h 1325394"/>
                <a:gd name="connsiteX54" fmla="*/ 583065 w 3812022"/>
                <a:gd name="connsiteY54" fmla="*/ 911656 h 1325394"/>
                <a:gd name="connsiteX55" fmla="*/ 609157 w 3812022"/>
                <a:gd name="connsiteY55" fmla="*/ 921773 h 1325394"/>
                <a:gd name="connsiteX56" fmla="*/ 610222 w 3812022"/>
                <a:gd name="connsiteY56" fmla="*/ 922838 h 1325394"/>
                <a:gd name="connsiteX57" fmla="*/ 610222 w 3812022"/>
                <a:gd name="connsiteY57" fmla="*/ 869058 h 1325394"/>
                <a:gd name="connsiteX58" fmla="*/ 609157 w 3812022"/>
                <a:gd name="connsiteY58" fmla="*/ 866928 h 1325394"/>
                <a:gd name="connsiteX59" fmla="*/ 578273 w 3812022"/>
                <a:gd name="connsiteY59" fmla="*/ 855746 h 1325394"/>
                <a:gd name="connsiteX60" fmla="*/ 3589446 w 3812022"/>
                <a:gd name="connsiteY60" fmla="*/ 757771 h 1325394"/>
                <a:gd name="connsiteX61" fmla="*/ 3566017 w 3812022"/>
                <a:gd name="connsiteY61" fmla="*/ 760965 h 1325394"/>
                <a:gd name="connsiteX62" fmla="*/ 3528743 w 3812022"/>
                <a:gd name="connsiteY62" fmla="*/ 790252 h 1325394"/>
                <a:gd name="connsiteX63" fmla="*/ 3528743 w 3812022"/>
                <a:gd name="connsiteY63" fmla="*/ 790784 h 1325394"/>
                <a:gd name="connsiteX64" fmla="*/ 3469105 w 3812022"/>
                <a:gd name="connsiteY64" fmla="*/ 863734 h 1325394"/>
                <a:gd name="connsiteX65" fmla="*/ 3528743 w 3812022"/>
                <a:gd name="connsiteY65" fmla="*/ 824331 h 1325394"/>
                <a:gd name="connsiteX66" fmla="*/ 3589446 w 3812022"/>
                <a:gd name="connsiteY66" fmla="*/ 757771 h 1325394"/>
                <a:gd name="connsiteX67" fmla="*/ 600104 w 3812022"/>
                <a:gd name="connsiteY67" fmla="*/ 741795 h 1325394"/>
                <a:gd name="connsiteX68" fmla="*/ 601169 w 3812022"/>
                <a:gd name="connsiteY68" fmla="*/ 782796 h 1325394"/>
                <a:gd name="connsiteX69" fmla="*/ 609157 w 3812022"/>
                <a:gd name="connsiteY69" fmla="*/ 785991 h 1325394"/>
                <a:gd name="connsiteX70" fmla="*/ 616079 w 3812022"/>
                <a:gd name="connsiteY70" fmla="*/ 790250 h 1325394"/>
                <a:gd name="connsiteX71" fmla="*/ 620339 w 3812022"/>
                <a:gd name="connsiteY71" fmla="*/ 749782 h 1325394"/>
                <a:gd name="connsiteX72" fmla="*/ 609157 w 3812022"/>
                <a:gd name="connsiteY72" fmla="*/ 742860 h 1325394"/>
                <a:gd name="connsiteX73" fmla="*/ 600104 w 3812022"/>
                <a:gd name="connsiteY73" fmla="*/ 741795 h 1325394"/>
                <a:gd name="connsiteX74" fmla="*/ 3661538 w 3812022"/>
                <a:gd name="connsiteY74" fmla="*/ 687708 h 1325394"/>
                <a:gd name="connsiteX75" fmla="*/ 3722566 w 3812022"/>
                <a:gd name="connsiteY75" fmla="*/ 730614 h 1325394"/>
                <a:gd name="connsiteX76" fmla="*/ 3618732 w 3812022"/>
                <a:gd name="connsiteY76" fmla="*/ 834448 h 1325394"/>
                <a:gd name="connsiteX77" fmla="*/ 3528743 w 3812022"/>
                <a:gd name="connsiteY77" fmla="*/ 887163 h 1325394"/>
                <a:gd name="connsiteX78" fmla="*/ 3402545 w 3812022"/>
                <a:gd name="connsiteY78" fmla="*/ 978217 h 1325394"/>
                <a:gd name="connsiteX79" fmla="*/ 3385506 w 3812022"/>
                <a:gd name="connsiteY79" fmla="*/ 977152 h 1325394"/>
                <a:gd name="connsiteX80" fmla="*/ 3460053 w 3812022"/>
                <a:gd name="connsiteY80" fmla="*/ 875981 h 1325394"/>
                <a:gd name="connsiteX81" fmla="*/ 3455793 w 3812022"/>
                <a:gd name="connsiteY81" fmla="*/ 867994 h 1325394"/>
                <a:gd name="connsiteX82" fmla="*/ 3356752 w 3812022"/>
                <a:gd name="connsiteY82" fmla="*/ 919644 h 1325394"/>
                <a:gd name="connsiteX83" fmla="*/ 3263568 w 3812022"/>
                <a:gd name="connsiteY83" fmla="*/ 925502 h 1325394"/>
                <a:gd name="connsiteX84" fmla="*/ 3238542 w 3812022"/>
                <a:gd name="connsiteY84" fmla="*/ 916450 h 1325394"/>
                <a:gd name="connsiteX85" fmla="*/ 3249724 w 3812022"/>
                <a:gd name="connsiteY85" fmla="*/ 890358 h 1325394"/>
                <a:gd name="connsiteX86" fmla="*/ 3509574 w 3812022"/>
                <a:gd name="connsiteY86" fmla="*/ 757771 h 1325394"/>
                <a:gd name="connsiteX87" fmla="*/ 3528743 w 3812022"/>
                <a:gd name="connsiteY87" fmla="*/ 746588 h 1325394"/>
                <a:gd name="connsiteX88" fmla="*/ 3634706 w 3812022"/>
                <a:gd name="connsiteY88" fmla="*/ 690146 h 1325394"/>
                <a:gd name="connsiteX89" fmla="*/ 3661538 w 3812022"/>
                <a:gd name="connsiteY89" fmla="*/ 687708 h 1325394"/>
                <a:gd name="connsiteX90" fmla="*/ 3106487 w 3812022"/>
                <a:gd name="connsiteY90" fmla="*/ 648612 h 1325394"/>
                <a:gd name="connsiteX91" fmla="*/ 3233749 w 3812022"/>
                <a:gd name="connsiteY91" fmla="*/ 667781 h 1325394"/>
                <a:gd name="connsiteX92" fmla="*/ 3234814 w 3812022"/>
                <a:gd name="connsiteY92" fmla="*/ 665652 h 1325394"/>
                <a:gd name="connsiteX93" fmla="*/ 3234814 w 3812022"/>
                <a:gd name="connsiteY93" fmla="*/ 750848 h 1325394"/>
                <a:gd name="connsiteX94" fmla="*/ 3225762 w 3812022"/>
                <a:gd name="connsiteY94" fmla="*/ 789187 h 1325394"/>
                <a:gd name="connsiteX95" fmla="*/ 3208723 w 3812022"/>
                <a:gd name="connsiteY95" fmla="*/ 792382 h 1325394"/>
                <a:gd name="connsiteX96" fmla="*/ 3106487 w 3812022"/>
                <a:gd name="connsiteY96" fmla="*/ 661924 h 1325394"/>
                <a:gd name="connsiteX97" fmla="*/ 3106487 w 3812022"/>
                <a:gd name="connsiteY97" fmla="*/ 651807 h 1325394"/>
                <a:gd name="connsiteX98" fmla="*/ 3106487 w 3812022"/>
                <a:gd name="connsiteY98" fmla="*/ 648612 h 1325394"/>
                <a:gd name="connsiteX99" fmla="*/ 1575074 w 3812022"/>
                <a:gd name="connsiteY99" fmla="*/ 608144 h 1325394"/>
                <a:gd name="connsiteX100" fmla="*/ 1552710 w 3812022"/>
                <a:gd name="connsiteY100" fmla="*/ 616131 h 1325394"/>
                <a:gd name="connsiteX101" fmla="*/ 1527684 w 3812022"/>
                <a:gd name="connsiteY101" fmla="*/ 671509 h 1325394"/>
                <a:gd name="connsiteX102" fmla="*/ 1552710 w 3812022"/>
                <a:gd name="connsiteY102" fmla="*/ 655535 h 1325394"/>
                <a:gd name="connsiteX103" fmla="*/ 1575074 w 3812022"/>
                <a:gd name="connsiteY103" fmla="*/ 608144 h 1325394"/>
                <a:gd name="connsiteX104" fmla="*/ 2635775 w 3812022"/>
                <a:gd name="connsiteY104" fmla="*/ 472893 h 1325394"/>
                <a:gd name="connsiteX105" fmla="*/ 2689556 w 3812022"/>
                <a:gd name="connsiteY105" fmla="*/ 508037 h 1325394"/>
                <a:gd name="connsiteX106" fmla="*/ 2608619 w 3812022"/>
                <a:gd name="connsiteY106" fmla="*/ 661392 h 1325394"/>
                <a:gd name="connsiteX107" fmla="*/ 2608619 w 3812022"/>
                <a:gd name="connsiteY107" fmla="*/ 553830 h 1325394"/>
                <a:gd name="connsiteX108" fmla="*/ 2635775 w 3812022"/>
                <a:gd name="connsiteY108" fmla="*/ 472893 h 1325394"/>
                <a:gd name="connsiteX109" fmla="*/ 1655479 w 3812022"/>
                <a:gd name="connsiteY109" fmla="*/ 448932 h 1325394"/>
                <a:gd name="connsiteX110" fmla="*/ 1578801 w 3812022"/>
                <a:gd name="connsiteY110" fmla="*/ 495257 h 1325394"/>
                <a:gd name="connsiteX111" fmla="*/ 1552710 w 3812022"/>
                <a:gd name="connsiteY111" fmla="*/ 523480 h 1325394"/>
                <a:gd name="connsiteX112" fmla="*/ 1542061 w 3812022"/>
                <a:gd name="connsiteY112" fmla="*/ 562351 h 1325394"/>
                <a:gd name="connsiteX113" fmla="*/ 1552177 w 3812022"/>
                <a:gd name="connsiteY113" fmla="*/ 558091 h 1325394"/>
                <a:gd name="connsiteX114" fmla="*/ 1578269 w 3812022"/>
                <a:gd name="connsiteY114" fmla="*/ 545844 h 1325394"/>
                <a:gd name="connsiteX115" fmla="*/ 1642699 w 3812022"/>
                <a:gd name="connsiteY115" fmla="*/ 481413 h 1325394"/>
                <a:gd name="connsiteX116" fmla="*/ 1667726 w 3812022"/>
                <a:gd name="connsiteY116" fmla="*/ 461179 h 1325394"/>
                <a:gd name="connsiteX117" fmla="*/ 1666661 w 3812022"/>
                <a:gd name="connsiteY117" fmla="*/ 449997 h 1325394"/>
                <a:gd name="connsiteX118" fmla="*/ 1655479 w 3812022"/>
                <a:gd name="connsiteY118" fmla="*/ 448932 h 1325394"/>
                <a:gd name="connsiteX119" fmla="*/ 3171982 w 3812022"/>
                <a:gd name="connsiteY119" fmla="*/ 389826 h 1325394"/>
                <a:gd name="connsiteX120" fmla="*/ 3189021 w 3812022"/>
                <a:gd name="connsiteY120" fmla="*/ 403138 h 1325394"/>
                <a:gd name="connsiteX121" fmla="*/ 3234814 w 3812022"/>
                <a:gd name="connsiteY121" fmla="*/ 454789 h 1325394"/>
                <a:gd name="connsiteX122" fmla="*/ 3313621 w 3812022"/>
                <a:gd name="connsiteY122" fmla="*/ 520285 h 1325394"/>
                <a:gd name="connsiteX123" fmla="*/ 3234814 w 3812022"/>
                <a:gd name="connsiteY123" fmla="*/ 600156 h 1325394"/>
                <a:gd name="connsiteX124" fmla="*/ 3233749 w 3812022"/>
                <a:gd name="connsiteY124" fmla="*/ 600156 h 1325394"/>
                <a:gd name="connsiteX125" fmla="*/ 3230554 w 3812022"/>
                <a:gd name="connsiteY125" fmla="*/ 538389 h 1325394"/>
                <a:gd name="connsiteX126" fmla="*/ 3171982 w 3812022"/>
                <a:gd name="connsiteY126" fmla="*/ 389826 h 1325394"/>
                <a:gd name="connsiteX127" fmla="*/ 2558565 w 3812022"/>
                <a:gd name="connsiteY127" fmla="*/ 235940 h 1325394"/>
                <a:gd name="connsiteX128" fmla="*/ 2599034 w 3812022"/>
                <a:gd name="connsiteY128" fmla="*/ 279603 h 1325394"/>
                <a:gd name="connsiteX129" fmla="*/ 2550578 w 3812022"/>
                <a:gd name="connsiteY129" fmla="*/ 565545 h 1325394"/>
                <a:gd name="connsiteX130" fmla="*/ 2551643 w 3812022"/>
                <a:gd name="connsiteY130" fmla="*/ 586845 h 1325394"/>
                <a:gd name="connsiteX131" fmla="*/ 2608086 w 3812022"/>
                <a:gd name="connsiteY131" fmla="*/ 553298 h 1325394"/>
                <a:gd name="connsiteX132" fmla="*/ 2608086 w 3812022"/>
                <a:gd name="connsiteY132" fmla="*/ 660327 h 1325394"/>
                <a:gd name="connsiteX133" fmla="*/ 2497863 w 3812022"/>
                <a:gd name="connsiteY133" fmla="*/ 743394 h 1325394"/>
                <a:gd name="connsiteX134" fmla="*/ 2447277 w 3812022"/>
                <a:gd name="connsiteY134" fmla="*/ 890891 h 1325394"/>
                <a:gd name="connsiteX135" fmla="*/ 2113411 w 3812022"/>
                <a:gd name="connsiteY135" fmla="*/ 1193339 h 1325394"/>
                <a:gd name="connsiteX136" fmla="*/ 2110217 w 3812022"/>
                <a:gd name="connsiteY136" fmla="*/ 1183222 h 1325394"/>
                <a:gd name="connsiteX137" fmla="*/ 2114476 w 3812022"/>
                <a:gd name="connsiteY137" fmla="*/ 1174170 h 1325394"/>
                <a:gd name="connsiteX138" fmla="*/ 2394562 w 3812022"/>
                <a:gd name="connsiteY138" fmla="*/ 811551 h 1325394"/>
                <a:gd name="connsiteX139" fmla="*/ 2393497 w 3812022"/>
                <a:gd name="connsiteY139" fmla="*/ 801434 h 1325394"/>
                <a:gd name="connsiteX140" fmla="*/ 2250259 w 3812022"/>
                <a:gd name="connsiteY140" fmla="*/ 827526 h 1325394"/>
                <a:gd name="connsiteX141" fmla="*/ 2286467 w 3812022"/>
                <a:gd name="connsiteY141" fmla="*/ 748719 h 1325394"/>
                <a:gd name="connsiteX142" fmla="*/ 2433965 w 3812022"/>
                <a:gd name="connsiteY142" fmla="*/ 653937 h 1325394"/>
                <a:gd name="connsiteX143" fmla="*/ 2525019 w 3812022"/>
                <a:gd name="connsiteY143" fmla="*/ 300370 h 1325394"/>
                <a:gd name="connsiteX144" fmla="*/ 2558565 w 3812022"/>
                <a:gd name="connsiteY144" fmla="*/ 235940 h 1325394"/>
                <a:gd name="connsiteX145" fmla="*/ 3528210 w 3812022"/>
                <a:gd name="connsiteY145" fmla="*/ 194459 h 1325394"/>
                <a:gd name="connsiteX146" fmla="*/ 3528210 w 3812022"/>
                <a:gd name="connsiteY146" fmla="*/ 484076 h 1325394"/>
                <a:gd name="connsiteX147" fmla="*/ 3528743 w 3812022"/>
                <a:gd name="connsiteY147" fmla="*/ 483543 h 1325394"/>
                <a:gd name="connsiteX148" fmla="*/ 3528743 w 3812022"/>
                <a:gd name="connsiteY148" fmla="*/ 484076 h 1325394"/>
                <a:gd name="connsiteX149" fmla="*/ 3495197 w 3812022"/>
                <a:gd name="connsiteY149" fmla="*/ 562883 h 1325394"/>
                <a:gd name="connsiteX150" fmla="*/ 3517161 w 3812022"/>
                <a:gd name="connsiteY150" fmla="*/ 553165 h 1325394"/>
                <a:gd name="connsiteX151" fmla="*/ 3528210 w 3812022"/>
                <a:gd name="connsiteY151" fmla="*/ 540085 h 1325394"/>
                <a:gd name="connsiteX152" fmla="*/ 3528210 w 3812022"/>
                <a:gd name="connsiteY152" fmla="*/ 656599 h 1325394"/>
                <a:gd name="connsiteX153" fmla="*/ 3528743 w 3812022"/>
                <a:gd name="connsiteY153" fmla="*/ 656327 h 1325394"/>
                <a:gd name="connsiteX154" fmla="*/ 3528743 w 3812022"/>
                <a:gd name="connsiteY154" fmla="*/ 656599 h 1325394"/>
                <a:gd name="connsiteX155" fmla="*/ 3406273 w 3812022"/>
                <a:gd name="connsiteY155" fmla="*/ 719432 h 1325394"/>
                <a:gd name="connsiteX156" fmla="*/ 3403078 w 3812022"/>
                <a:gd name="connsiteY156" fmla="*/ 707185 h 1325394"/>
                <a:gd name="connsiteX157" fmla="*/ 3496262 w 3812022"/>
                <a:gd name="connsiteY157" fmla="*/ 620391 h 1325394"/>
                <a:gd name="connsiteX158" fmla="*/ 3394026 w 3812022"/>
                <a:gd name="connsiteY158" fmla="*/ 629443 h 1325394"/>
                <a:gd name="connsiteX159" fmla="*/ 3246529 w 3812022"/>
                <a:gd name="connsiteY159" fmla="*/ 710380 h 1325394"/>
                <a:gd name="connsiteX160" fmla="*/ 3235347 w 3812022"/>
                <a:gd name="connsiteY160" fmla="*/ 750848 h 1325394"/>
                <a:gd name="connsiteX161" fmla="*/ 3235347 w 3812022"/>
                <a:gd name="connsiteY161" fmla="*/ 665652 h 1325394"/>
                <a:gd name="connsiteX162" fmla="*/ 3367934 w 3812022"/>
                <a:gd name="connsiteY162" fmla="*/ 560753 h 1325394"/>
                <a:gd name="connsiteX163" fmla="*/ 3370064 w 3812022"/>
                <a:gd name="connsiteY163" fmla="*/ 524544 h 1325394"/>
                <a:gd name="connsiteX164" fmla="*/ 3419585 w 3812022"/>
                <a:gd name="connsiteY164" fmla="*/ 520285 h 1325394"/>
                <a:gd name="connsiteX165" fmla="*/ 3511704 w 3812022"/>
                <a:gd name="connsiteY165" fmla="*/ 329123 h 1325394"/>
                <a:gd name="connsiteX166" fmla="*/ 3411598 w 3812022"/>
                <a:gd name="connsiteY166" fmla="*/ 341370 h 1325394"/>
                <a:gd name="connsiteX167" fmla="*/ 3447806 w 3812022"/>
                <a:gd name="connsiteY167" fmla="*/ 282798 h 1325394"/>
                <a:gd name="connsiteX168" fmla="*/ 52315 w 3812022"/>
                <a:gd name="connsiteY168" fmla="*/ 184090 h 1325394"/>
                <a:gd name="connsiteX169" fmla="*/ 88391 w 3812022"/>
                <a:gd name="connsiteY169" fmla="*/ 188017 h 1325394"/>
                <a:gd name="connsiteX170" fmla="*/ 158146 w 3812022"/>
                <a:gd name="connsiteY170" fmla="*/ 272682 h 1325394"/>
                <a:gd name="connsiteX171" fmla="*/ 137912 w 3812022"/>
                <a:gd name="connsiteY171" fmla="*/ 296111 h 1325394"/>
                <a:gd name="connsiteX172" fmla="*/ 102768 w 3812022"/>
                <a:gd name="connsiteY172" fmla="*/ 308358 h 1325394"/>
                <a:gd name="connsiteX173" fmla="*/ 88391 w 3812022"/>
                <a:gd name="connsiteY173" fmla="*/ 309423 h 1325394"/>
                <a:gd name="connsiteX174" fmla="*/ 81469 w 3812022"/>
                <a:gd name="connsiteY174" fmla="*/ 309423 h 1325394"/>
                <a:gd name="connsiteX175" fmla="*/ 65494 w 3812022"/>
                <a:gd name="connsiteY175" fmla="*/ 299306 h 1325394"/>
                <a:gd name="connsiteX176" fmla="*/ 18636 w 3812022"/>
                <a:gd name="connsiteY176" fmla="*/ 186952 h 1325394"/>
                <a:gd name="connsiteX177" fmla="*/ 52315 w 3812022"/>
                <a:gd name="connsiteY177" fmla="*/ 184090 h 1325394"/>
                <a:gd name="connsiteX178" fmla="*/ 697548 w 3812022"/>
                <a:gd name="connsiteY178" fmla="*/ 95897 h 1325394"/>
                <a:gd name="connsiteX179" fmla="*/ 698613 w 3812022"/>
                <a:gd name="connsiteY179" fmla="*/ 166717 h 1325394"/>
                <a:gd name="connsiteX180" fmla="*/ 712990 w 3812022"/>
                <a:gd name="connsiteY180" fmla="*/ 157665 h 1325394"/>
                <a:gd name="connsiteX181" fmla="*/ 727367 w 3812022"/>
                <a:gd name="connsiteY181" fmla="*/ 144353 h 1325394"/>
                <a:gd name="connsiteX182" fmla="*/ 712990 w 3812022"/>
                <a:gd name="connsiteY182" fmla="*/ 99092 h 1325394"/>
                <a:gd name="connsiteX183" fmla="*/ 697548 w 3812022"/>
                <a:gd name="connsiteY183" fmla="*/ 95897 h 1325394"/>
                <a:gd name="connsiteX184" fmla="*/ 1785205 w 3812022"/>
                <a:gd name="connsiteY184" fmla="*/ 42774 h 1325394"/>
                <a:gd name="connsiteX185" fmla="*/ 1825341 w 3812022"/>
                <a:gd name="connsiteY185" fmla="*/ 84183 h 1325394"/>
                <a:gd name="connsiteX186" fmla="*/ 1779015 w 3812022"/>
                <a:gd name="connsiteY186" fmla="*/ 158730 h 1325394"/>
                <a:gd name="connsiteX187" fmla="*/ 1835458 w 3812022"/>
                <a:gd name="connsiteY187" fmla="*/ 118262 h 1325394"/>
                <a:gd name="connsiteX188" fmla="*/ 1895628 w 3812022"/>
                <a:gd name="connsiteY188" fmla="*/ 150211 h 1325394"/>
                <a:gd name="connsiteX189" fmla="*/ 1895628 w 3812022"/>
                <a:gd name="connsiteY189" fmla="*/ 158198 h 1325394"/>
                <a:gd name="connsiteX190" fmla="*/ 1873264 w 3812022"/>
                <a:gd name="connsiteY190" fmla="*/ 191744 h 1325394"/>
                <a:gd name="connsiteX191" fmla="*/ 1646959 w 3812022"/>
                <a:gd name="connsiteY191" fmla="*/ 304097 h 1325394"/>
                <a:gd name="connsiteX192" fmla="*/ 1578269 w 3812022"/>
                <a:gd name="connsiteY192" fmla="*/ 388761 h 1325394"/>
                <a:gd name="connsiteX193" fmla="*/ 1552177 w 3812022"/>
                <a:gd name="connsiteY193" fmla="*/ 408996 h 1325394"/>
                <a:gd name="connsiteX194" fmla="*/ 1536203 w 3812022"/>
                <a:gd name="connsiteY194" fmla="*/ 450529 h 1325394"/>
                <a:gd name="connsiteX195" fmla="*/ 1552177 w 3812022"/>
                <a:gd name="connsiteY195" fmla="*/ 446269 h 1325394"/>
                <a:gd name="connsiteX196" fmla="*/ 1578269 w 3812022"/>
                <a:gd name="connsiteY196" fmla="*/ 432957 h 1325394"/>
                <a:gd name="connsiteX197" fmla="*/ 1765170 w 3812022"/>
                <a:gd name="connsiteY197" fmla="*/ 431892 h 1325394"/>
                <a:gd name="connsiteX198" fmla="*/ 1742807 w 3812022"/>
                <a:gd name="connsiteY198" fmla="*/ 521882 h 1325394"/>
                <a:gd name="connsiteX199" fmla="*/ 1578269 w 3812022"/>
                <a:gd name="connsiteY199" fmla="*/ 711978 h 1325394"/>
                <a:gd name="connsiteX200" fmla="*/ 1552177 w 3812022"/>
                <a:gd name="connsiteY200" fmla="*/ 732212 h 1325394"/>
                <a:gd name="connsiteX201" fmla="*/ 1552177 w 3812022"/>
                <a:gd name="connsiteY201" fmla="*/ 744459 h 1325394"/>
                <a:gd name="connsiteX202" fmla="*/ 1578269 w 3812022"/>
                <a:gd name="connsiteY202" fmla="*/ 737537 h 1325394"/>
                <a:gd name="connsiteX203" fmla="*/ 1734819 w 3812022"/>
                <a:gd name="connsiteY203" fmla="*/ 654470 h 1325394"/>
                <a:gd name="connsiteX204" fmla="*/ 1767300 w 3812022"/>
                <a:gd name="connsiteY204" fmla="*/ 708250 h 1325394"/>
                <a:gd name="connsiteX205" fmla="*/ 1648024 w 3812022"/>
                <a:gd name="connsiteY205" fmla="*/ 823266 h 1325394"/>
                <a:gd name="connsiteX206" fmla="*/ 1726832 w 3812022"/>
                <a:gd name="connsiteY206" fmla="*/ 893021 h 1325394"/>
                <a:gd name="connsiteX207" fmla="*/ 1578269 w 3812022"/>
                <a:gd name="connsiteY207" fmla="*/ 1037323 h 1325394"/>
                <a:gd name="connsiteX208" fmla="*/ 1552177 w 3812022"/>
                <a:gd name="connsiteY208" fmla="*/ 1054362 h 1325394"/>
                <a:gd name="connsiteX209" fmla="*/ 1528749 w 3812022"/>
                <a:gd name="connsiteY209" fmla="*/ 1070337 h 1325394"/>
                <a:gd name="connsiteX210" fmla="*/ 1518631 w 3812022"/>
                <a:gd name="connsiteY210" fmla="*/ 1185352 h 1325394"/>
                <a:gd name="connsiteX211" fmla="*/ 1521826 w 3812022"/>
                <a:gd name="connsiteY211" fmla="*/ 1284393 h 1325394"/>
                <a:gd name="connsiteX212" fmla="*/ 1499462 w 3812022"/>
                <a:gd name="connsiteY212" fmla="*/ 1313680 h 1325394"/>
                <a:gd name="connsiteX213" fmla="*/ 1437694 w 3812022"/>
                <a:gd name="connsiteY213" fmla="*/ 1117727 h 1325394"/>
                <a:gd name="connsiteX214" fmla="*/ 1380187 w 3812022"/>
                <a:gd name="connsiteY214" fmla="*/ 1071402 h 1325394"/>
                <a:gd name="connsiteX215" fmla="*/ 1437694 w 3812022"/>
                <a:gd name="connsiteY215" fmla="*/ 1051167 h 1325394"/>
                <a:gd name="connsiteX216" fmla="*/ 1434500 w 3812022"/>
                <a:gd name="connsiteY216" fmla="*/ 916982 h 1325394"/>
                <a:gd name="connsiteX217" fmla="*/ 1285938 w 3812022"/>
                <a:gd name="connsiteY217" fmla="*/ 1011764 h 1325394"/>
                <a:gd name="connsiteX218" fmla="*/ 1167727 w 3812022"/>
                <a:gd name="connsiteY218" fmla="*/ 1035193 h 1325394"/>
                <a:gd name="connsiteX219" fmla="*/ 1169857 w 3812022"/>
                <a:gd name="connsiteY219" fmla="*/ 1024011 h 1325394"/>
                <a:gd name="connsiteX220" fmla="*/ 1422253 w 3812022"/>
                <a:gd name="connsiteY220" fmla="*/ 824863 h 1325394"/>
                <a:gd name="connsiteX221" fmla="*/ 1397226 w 3812022"/>
                <a:gd name="connsiteY221" fmla="*/ 814746 h 1325394"/>
                <a:gd name="connsiteX222" fmla="*/ 1397226 w 3812022"/>
                <a:gd name="connsiteY222" fmla="*/ 802499 h 1325394"/>
                <a:gd name="connsiteX223" fmla="*/ 1427577 w 3812022"/>
                <a:gd name="connsiteY223" fmla="*/ 779070 h 1325394"/>
                <a:gd name="connsiteX224" fmla="*/ 1435565 w 3812022"/>
                <a:gd name="connsiteY224" fmla="*/ 692276 h 1325394"/>
                <a:gd name="connsiteX225" fmla="*/ 1289133 w 3812022"/>
                <a:gd name="connsiteY225" fmla="*/ 782265 h 1325394"/>
                <a:gd name="connsiteX226" fmla="*/ 1153883 w 3812022"/>
                <a:gd name="connsiteY226" fmla="*/ 833916 h 1325394"/>
                <a:gd name="connsiteX227" fmla="*/ 1156013 w 3812022"/>
                <a:gd name="connsiteY227" fmla="*/ 808889 h 1325394"/>
                <a:gd name="connsiteX228" fmla="*/ 1263041 w 3812022"/>
                <a:gd name="connsiteY228" fmla="*/ 748186 h 1325394"/>
                <a:gd name="connsiteX229" fmla="*/ 1306704 w 3812022"/>
                <a:gd name="connsiteY229" fmla="*/ 656067 h 1325394"/>
                <a:gd name="connsiteX230" fmla="*/ 1323744 w 3812022"/>
                <a:gd name="connsiteY230" fmla="*/ 676302 h 1325394"/>
                <a:gd name="connsiteX231" fmla="*/ 1440889 w 3812022"/>
                <a:gd name="connsiteY231" fmla="*/ 435620 h 1325394"/>
                <a:gd name="connsiteX232" fmla="*/ 1523956 w 3812022"/>
                <a:gd name="connsiteY232" fmla="*/ 343501 h 1325394"/>
                <a:gd name="connsiteX233" fmla="*/ 1376459 w 3812022"/>
                <a:gd name="connsiteY233" fmla="*/ 458516 h 1325394"/>
                <a:gd name="connsiteX234" fmla="*/ 1348238 w 3812022"/>
                <a:gd name="connsiteY234" fmla="*/ 446269 h 1325394"/>
                <a:gd name="connsiteX235" fmla="*/ 1161337 w 3812022"/>
                <a:gd name="connsiteY235" fmla="*/ 469698 h 1325394"/>
                <a:gd name="connsiteX236" fmla="*/ 1161337 w 3812022"/>
                <a:gd name="connsiteY236" fmla="*/ 459581 h 1325394"/>
                <a:gd name="connsiteX237" fmla="*/ 1337056 w 3812022"/>
                <a:gd name="connsiteY237" fmla="*/ 376514 h 1325394"/>
                <a:gd name="connsiteX238" fmla="*/ 1363147 w 3812022"/>
                <a:gd name="connsiteY238" fmla="*/ 194406 h 1325394"/>
                <a:gd name="connsiteX239" fmla="*/ 1453136 w 3812022"/>
                <a:gd name="connsiteY239" fmla="*/ 312617 h 1325394"/>
                <a:gd name="connsiteX240" fmla="*/ 1552177 w 3812022"/>
                <a:gd name="connsiteY240" fmla="*/ 273213 h 1325394"/>
                <a:gd name="connsiteX241" fmla="*/ 1578269 w 3812022"/>
                <a:gd name="connsiteY241" fmla="*/ 263096 h 1325394"/>
                <a:gd name="connsiteX242" fmla="*/ 1596374 w 3812022"/>
                <a:gd name="connsiteY242" fmla="*/ 256174 h 1325394"/>
                <a:gd name="connsiteX243" fmla="*/ 1760911 w 3812022"/>
                <a:gd name="connsiteY243" fmla="*/ 45844 h 1325394"/>
                <a:gd name="connsiteX244" fmla="*/ 1785205 w 3812022"/>
                <a:gd name="connsiteY244" fmla="*/ 42774 h 1325394"/>
                <a:gd name="connsiteX245" fmla="*/ 677122 w 3812022"/>
                <a:gd name="connsiteY245" fmla="*/ 5334 h 1325394"/>
                <a:gd name="connsiteX246" fmla="*/ 708198 w 3812022"/>
                <a:gd name="connsiteY246" fmla="*/ 55428 h 1325394"/>
                <a:gd name="connsiteX247" fmla="*/ 712458 w 3812022"/>
                <a:gd name="connsiteY247" fmla="*/ 55428 h 1325394"/>
                <a:gd name="connsiteX248" fmla="*/ 836526 w 3812022"/>
                <a:gd name="connsiteY248" fmla="*/ 143288 h 1325394"/>
                <a:gd name="connsiteX249" fmla="*/ 712458 w 3812022"/>
                <a:gd name="connsiteY249" fmla="*/ 269485 h 1325394"/>
                <a:gd name="connsiteX250" fmla="*/ 690094 w 3812022"/>
                <a:gd name="connsiteY250" fmla="*/ 280667 h 1325394"/>
                <a:gd name="connsiteX251" fmla="*/ 668794 w 3812022"/>
                <a:gd name="connsiteY251" fmla="*/ 420177 h 1325394"/>
                <a:gd name="connsiteX252" fmla="*/ 666664 w 3812022"/>
                <a:gd name="connsiteY252" fmla="*/ 435086 h 1325394"/>
                <a:gd name="connsiteX253" fmla="*/ 662405 w 3812022"/>
                <a:gd name="connsiteY253" fmla="*/ 440944 h 1325394"/>
                <a:gd name="connsiteX254" fmla="*/ 608624 w 3812022"/>
                <a:gd name="connsiteY254" fmla="*/ 524011 h 1325394"/>
                <a:gd name="connsiteX255" fmla="*/ 579338 w 3812022"/>
                <a:gd name="connsiteY255" fmla="*/ 591636 h 1325394"/>
                <a:gd name="connsiteX256" fmla="*/ 608624 w 3812022"/>
                <a:gd name="connsiteY256" fmla="*/ 570336 h 1325394"/>
                <a:gd name="connsiteX257" fmla="*/ 712458 w 3812022"/>
                <a:gd name="connsiteY257" fmla="*/ 512829 h 1325394"/>
                <a:gd name="connsiteX258" fmla="*/ 716718 w 3812022"/>
                <a:gd name="connsiteY258" fmla="*/ 511764 h 1325394"/>
                <a:gd name="connsiteX259" fmla="*/ 712458 w 3812022"/>
                <a:gd name="connsiteY259" fmla="*/ 579389 h 1325394"/>
                <a:gd name="connsiteX260" fmla="*/ 660807 w 3812022"/>
                <a:gd name="connsiteY260" fmla="*/ 645949 h 1325394"/>
                <a:gd name="connsiteX261" fmla="*/ 704471 w 3812022"/>
                <a:gd name="connsiteY261" fmla="*/ 713573 h 1325394"/>
                <a:gd name="connsiteX262" fmla="*/ 710328 w 3812022"/>
                <a:gd name="connsiteY262" fmla="*/ 1175233 h 1325394"/>
                <a:gd name="connsiteX263" fmla="*/ 625663 w 3812022"/>
                <a:gd name="connsiteY263" fmla="*/ 1217832 h 1325394"/>
                <a:gd name="connsiteX264" fmla="*/ 608624 w 3812022"/>
                <a:gd name="connsiteY264" fmla="*/ 1200792 h 1325394"/>
                <a:gd name="connsiteX265" fmla="*/ 561233 w 3812022"/>
                <a:gd name="connsiteY265" fmla="*/ 1090569 h 1325394"/>
                <a:gd name="connsiteX266" fmla="*/ 608624 w 3812022"/>
                <a:gd name="connsiteY266" fmla="*/ 1105479 h 1325394"/>
                <a:gd name="connsiteX267" fmla="*/ 610754 w 3812022"/>
                <a:gd name="connsiteY267" fmla="*/ 1105479 h 1325394"/>
                <a:gd name="connsiteX268" fmla="*/ 608624 w 3812022"/>
                <a:gd name="connsiteY268" fmla="*/ 1008567 h 1325394"/>
                <a:gd name="connsiteX269" fmla="*/ 606494 w 3812022"/>
                <a:gd name="connsiteY269" fmla="*/ 1005372 h 1325394"/>
                <a:gd name="connsiteX270" fmla="*/ 555909 w 3812022"/>
                <a:gd name="connsiteY270" fmla="*/ 972891 h 1325394"/>
                <a:gd name="connsiteX271" fmla="*/ 543662 w 3812022"/>
                <a:gd name="connsiteY271" fmla="*/ 973956 h 1325394"/>
                <a:gd name="connsiteX272" fmla="*/ 518635 w 3812022"/>
                <a:gd name="connsiteY272" fmla="*/ 1072997 h 1325394"/>
                <a:gd name="connsiteX273" fmla="*/ 449945 w 3812022"/>
                <a:gd name="connsiteY273" fmla="*/ 1246586 h 1325394"/>
                <a:gd name="connsiteX274" fmla="*/ 419594 w 3812022"/>
                <a:gd name="connsiteY274" fmla="*/ 1188013 h 1325394"/>
                <a:gd name="connsiteX275" fmla="*/ 500531 w 3812022"/>
                <a:gd name="connsiteY275" fmla="*/ 866928 h 1325394"/>
                <a:gd name="connsiteX276" fmla="*/ 542064 w 3812022"/>
                <a:gd name="connsiteY276" fmla="*/ 734340 h 1325394"/>
                <a:gd name="connsiteX277" fmla="*/ 438230 w 3812022"/>
                <a:gd name="connsiteY277" fmla="*/ 730080 h 1325394"/>
                <a:gd name="connsiteX278" fmla="*/ 439296 w 3812022"/>
                <a:gd name="connsiteY278" fmla="*/ 709846 h 1325394"/>
                <a:gd name="connsiteX279" fmla="*/ 487751 w 3812022"/>
                <a:gd name="connsiteY279" fmla="*/ 504841 h 1325394"/>
                <a:gd name="connsiteX280" fmla="*/ 494673 w 3812022"/>
                <a:gd name="connsiteY280" fmla="*/ 487802 h 1325394"/>
                <a:gd name="connsiteX281" fmla="*/ 520765 w 3812022"/>
                <a:gd name="connsiteY281" fmla="*/ 410060 h 1325394"/>
                <a:gd name="connsiteX282" fmla="*/ 410542 w 3812022"/>
                <a:gd name="connsiteY282" fmla="*/ 492062 h 1325394"/>
                <a:gd name="connsiteX283" fmla="*/ 317358 w 3812022"/>
                <a:gd name="connsiteY283" fmla="*/ 562882 h 1325394"/>
                <a:gd name="connsiteX284" fmla="*/ 217251 w 3812022"/>
                <a:gd name="connsiteY284" fmla="*/ 666715 h 1325394"/>
                <a:gd name="connsiteX285" fmla="*/ 155484 w 3812022"/>
                <a:gd name="connsiteY285" fmla="*/ 1054893 h 1325394"/>
                <a:gd name="connsiteX286" fmla="*/ 136314 w 3812022"/>
                <a:gd name="connsiteY286" fmla="*/ 1180026 h 1325394"/>
                <a:gd name="connsiteX287" fmla="*/ 100106 w 3812022"/>
                <a:gd name="connsiteY287" fmla="*/ 1312613 h 1325394"/>
                <a:gd name="connsiteX288" fmla="*/ 87859 w 3812022"/>
                <a:gd name="connsiteY288" fmla="*/ 1305691 h 1325394"/>
                <a:gd name="connsiteX289" fmla="*/ 21299 w 3812022"/>
                <a:gd name="connsiteY289" fmla="*/ 1256170 h 1325394"/>
                <a:gd name="connsiteX290" fmla="*/ 1064 w 3812022"/>
                <a:gd name="connsiteY290" fmla="*/ 1121985 h 1325394"/>
                <a:gd name="connsiteX291" fmla="*/ 2129 w 3812022"/>
                <a:gd name="connsiteY291" fmla="*/ 1009632 h 1325394"/>
                <a:gd name="connsiteX292" fmla="*/ 6389 w 3812022"/>
                <a:gd name="connsiteY292" fmla="*/ 796640 h 1325394"/>
                <a:gd name="connsiteX293" fmla="*/ 4259 w 3812022"/>
                <a:gd name="connsiteY293" fmla="*/ 718898 h 1325394"/>
                <a:gd name="connsiteX294" fmla="*/ 0 w 3812022"/>
                <a:gd name="connsiteY294" fmla="*/ 639026 h 1325394"/>
                <a:gd name="connsiteX295" fmla="*/ 0 w 3812022"/>
                <a:gd name="connsiteY295" fmla="*/ 632104 h 1325394"/>
                <a:gd name="connsiteX296" fmla="*/ 65495 w 3812022"/>
                <a:gd name="connsiteY296" fmla="*/ 504841 h 1325394"/>
                <a:gd name="connsiteX297" fmla="*/ 87859 w 3812022"/>
                <a:gd name="connsiteY297" fmla="*/ 536258 h 1325394"/>
                <a:gd name="connsiteX298" fmla="*/ 116080 w 3812022"/>
                <a:gd name="connsiteY298" fmla="*/ 617195 h 1325394"/>
                <a:gd name="connsiteX299" fmla="*/ 144302 w 3812022"/>
                <a:gd name="connsiteY299" fmla="*/ 775874 h 1325394"/>
                <a:gd name="connsiteX300" fmla="*/ 165601 w 3812022"/>
                <a:gd name="connsiteY300" fmla="*/ 702924 h 1325394"/>
                <a:gd name="connsiteX301" fmla="*/ 223109 w 3812022"/>
                <a:gd name="connsiteY301" fmla="*/ 498984 h 1325394"/>
                <a:gd name="connsiteX302" fmla="*/ 339189 w 3812022"/>
                <a:gd name="connsiteY302" fmla="*/ 424437 h 1325394"/>
                <a:gd name="connsiteX303" fmla="*/ 536207 w 3812022"/>
                <a:gd name="connsiteY303" fmla="*/ 310486 h 1325394"/>
                <a:gd name="connsiteX304" fmla="*/ 609157 w 3812022"/>
                <a:gd name="connsiteY304" fmla="*/ 91105 h 1325394"/>
                <a:gd name="connsiteX305" fmla="*/ 656547 w 3812022"/>
                <a:gd name="connsiteY305" fmla="*/ 8038 h 1325394"/>
                <a:gd name="connsiteX306" fmla="*/ 677122 w 3812022"/>
                <a:gd name="connsiteY306" fmla="*/ 5334 h 1325394"/>
                <a:gd name="connsiteX307" fmla="*/ 3645157 w 3812022"/>
                <a:gd name="connsiteY307" fmla="*/ 983 h 1325394"/>
                <a:gd name="connsiteX308" fmla="*/ 3704994 w 3812022"/>
                <a:gd name="connsiteY308" fmla="*/ 31467 h 1325394"/>
                <a:gd name="connsiteX309" fmla="*/ 3640564 w 3812022"/>
                <a:gd name="connsiteY309" fmla="*/ 159795 h 1325394"/>
                <a:gd name="connsiteX310" fmla="*/ 3543652 w 3812022"/>
                <a:gd name="connsiteY310" fmla="*/ 268953 h 1325394"/>
                <a:gd name="connsiteX311" fmla="*/ 3544718 w 3812022"/>
                <a:gd name="connsiteY311" fmla="*/ 279070 h 1325394"/>
                <a:gd name="connsiteX312" fmla="*/ 3621394 w 3812022"/>
                <a:gd name="connsiteY312" fmla="*/ 334448 h 1325394"/>
                <a:gd name="connsiteX313" fmla="*/ 3587849 w 3812022"/>
                <a:gd name="connsiteY313" fmla="*/ 419112 h 1325394"/>
                <a:gd name="connsiteX314" fmla="*/ 3812022 w 3812022"/>
                <a:gd name="connsiteY314" fmla="*/ 414853 h 1325394"/>
                <a:gd name="connsiteX315" fmla="*/ 3812022 w 3812022"/>
                <a:gd name="connsiteY315" fmla="*/ 421242 h 1325394"/>
                <a:gd name="connsiteX316" fmla="*/ 3812022 w 3812022"/>
                <a:gd name="connsiteY316" fmla="*/ 443606 h 1325394"/>
                <a:gd name="connsiteX317" fmla="*/ 3680500 w 3812022"/>
                <a:gd name="connsiteY317" fmla="*/ 594299 h 1325394"/>
                <a:gd name="connsiteX318" fmla="*/ 3654409 w 3812022"/>
                <a:gd name="connsiteY318" fmla="*/ 611339 h 1325394"/>
                <a:gd name="connsiteX319" fmla="*/ 3588713 w 3812022"/>
                <a:gd name="connsiteY319" fmla="*/ 625782 h 1325394"/>
                <a:gd name="connsiteX320" fmla="*/ 3528743 w 3812022"/>
                <a:gd name="connsiteY320" fmla="*/ 656327 h 1325394"/>
                <a:gd name="connsiteX321" fmla="*/ 3528743 w 3812022"/>
                <a:gd name="connsiteY321" fmla="*/ 539454 h 1325394"/>
                <a:gd name="connsiteX322" fmla="*/ 3528210 w 3812022"/>
                <a:gd name="connsiteY322" fmla="*/ 540085 h 1325394"/>
                <a:gd name="connsiteX323" fmla="*/ 3528210 w 3812022"/>
                <a:gd name="connsiteY323" fmla="*/ 539454 h 1325394"/>
                <a:gd name="connsiteX324" fmla="*/ 3607018 w 3812022"/>
                <a:gd name="connsiteY324" fmla="*/ 543714 h 1325394"/>
                <a:gd name="connsiteX325" fmla="*/ 3715111 w 3812022"/>
                <a:gd name="connsiteY325" fmla="*/ 446801 h 1325394"/>
                <a:gd name="connsiteX326" fmla="*/ 3537263 w 3812022"/>
                <a:gd name="connsiteY326" fmla="*/ 475024 h 1325394"/>
                <a:gd name="connsiteX327" fmla="*/ 3528743 w 3812022"/>
                <a:gd name="connsiteY327" fmla="*/ 483543 h 1325394"/>
                <a:gd name="connsiteX328" fmla="*/ 3528743 w 3812022"/>
                <a:gd name="connsiteY328" fmla="*/ 193873 h 1325394"/>
                <a:gd name="connsiteX329" fmla="*/ 3528210 w 3812022"/>
                <a:gd name="connsiteY329" fmla="*/ 194459 h 1325394"/>
                <a:gd name="connsiteX330" fmla="*/ 3528210 w 3812022"/>
                <a:gd name="connsiteY330" fmla="*/ 193873 h 1325394"/>
                <a:gd name="connsiteX331" fmla="*/ 3608082 w 3812022"/>
                <a:gd name="connsiteY331" fmla="*/ 30402 h 1325394"/>
                <a:gd name="connsiteX332" fmla="*/ 3645157 w 3812022"/>
                <a:gd name="connsiteY332" fmla="*/ 983 h 132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Lst>
              <a:rect l="l" t="t" r="r" b="b"/>
              <a:pathLst>
                <a:path w="3812022" h="1325394">
                  <a:moveTo>
                    <a:pt x="3528743" y="1166183"/>
                  </a:moveTo>
                  <a:cubicBezTo>
                    <a:pt x="3531938" y="1169377"/>
                    <a:pt x="3534601" y="1174170"/>
                    <a:pt x="3537795" y="1178430"/>
                  </a:cubicBezTo>
                  <a:cubicBezTo>
                    <a:pt x="3538860" y="1199729"/>
                    <a:pt x="3537795" y="1230080"/>
                    <a:pt x="3528743" y="1258302"/>
                  </a:cubicBezTo>
                  <a:close/>
                  <a:moveTo>
                    <a:pt x="3234282" y="1082322"/>
                  </a:moveTo>
                  <a:lnTo>
                    <a:pt x="3234282" y="1163814"/>
                  </a:lnTo>
                  <a:lnTo>
                    <a:pt x="3194545" y="1145948"/>
                  </a:lnTo>
                  <a:cubicBezTo>
                    <a:pt x="3184361" y="1137428"/>
                    <a:pt x="3178371" y="1125980"/>
                    <a:pt x="3179436" y="1110272"/>
                  </a:cubicBezTo>
                  <a:close/>
                  <a:moveTo>
                    <a:pt x="3429169" y="1002179"/>
                  </a:moveTo>
                  <a:cubicBezTo>
                    <a:pt x="3447274" y="1016556"/>
                    <a:pt x="3489872" y="1011231"/>
                    <a:pt x="3528210" y="1004309"/>
                  </a:cubicBezTo>
                  <a:lnTo>
                    <a:pt x="3528210" y="1113467"/>
                  </a:lnTo>
                  <a:cubicBezTo>
                    <a:pt x="3515964" y="1125714"/>
                    <a:pt x="3513834" y="1141688"/>
                    <a:pt x="3528210" y="1166183"/>
                  </a:cubicBezTo>
                  <a:lnTo>
                    <a:pt x="3528210" y="1258302"/>
                  </a:lnTo>
                  <a:cubicBezTo>
                    <a:pt x="3519691" y="1290250"/>
                    <a:pt x="3500522" y="1318472"/>
                    <a:pt x="3467508" y="1325394"/>
                  </a:cubicBezTo>
                  <a:cubicBezTo>
                    <a:pt x="3423844" y="1313147"/>
                    <a:pt x="3233217" y="1258834"/>
                    <a:pt x="3260373" y="1211443"/>
                  </a:cubicBezTo>
                  <a:cubicBezTo>
                    <a:pt x="3304036" y="1210378"/>
                    <a:pt x="3374324" y="1252977"/>
                    <a:pt x="3440351" y="1243925"/>
                  </a:cubicBezTo>
                  <a:cubicBezTo>
                    <a:pt x="3461650" y="1213573"/>
                    <a:pt x="3451534" y="1144883"/>
                    <a:pt x="3440351" y="1117727"/>
                  </a:cubicBezTo>
                  <a:cubicBezTo>
                    <a:pt x="3378584" y="1119857"/>
                    <a:pt x="3357284" y="1157130"/>
                    <a:pt x="3310959" y="1173105"/>
                  </a:cubicBezTo>
                  <a:cubicBezTo>
                    <a:pt x="3288595" y="1170975"/>
                    <a:pt x="3259308" y="1169910"/>
                    <a:pt x="3234282" y="1164053"/>
                  </a:cubicBezTo>
                  <a:lnTo>
                    <a:pt x="3234282" y="1163814"/>
                  </a:lnTo>
                  <a:lnTo>
                    <a:pt x="3234814" y="1164053"/>
                  </a:lnTo>
                  <a:lnTo>
                    <a:pt x="3234814" y="1082051"/>
                  </a:lnTo>
                  <a:lnTo>
                    <a:pt x="3234282" y="1082322"/>
                  </a:lnTo>
                  <a:lnTo>
                    <a:pt x="3234282" y="1082051"/>
                  </a:lnTo>
                  <a:cubicBezTo>
                    <a:pt x="3283802" y="1061816"/>
                    <a:pt x="3340245" y="1046907"/>
                    <a:pt x="3391896" y="1031465"/>
                  </a:cubicBezTo>
                  <a:cubicBezTo>
                    <a:pt x="3415325" y="1013361"/>
                    <a:pt x="3380714" y="997919"/>
                    <a:pt x="3429169" y="1002179"/>
                  </a:cubicBezTo>
                  <a:close/>
                  <a:moveTo>
                    <a:pt x="3580394" y="994192"/>
                  </a:moveTo>
                  <a:cubicBezTo>
                    <a:pt x="3600628" y="1000049"/>
                    <a:pt x="3616603" y="1004309"/>
                    <a:pt x="3644824" y="1024543"/>
                  </a:cubicBezTo>
                  <a:cubicBezTo>
                    <a:pt x="3645889" y="1077258"/>
                    <a:pt x="3560159" y="1084181"/>
                    <a:pt x="3528743" y="1113467"/>
                  </a:cubicBezTo>
                  <a:lnTo>
                    <a:pt x="3528743" y="1004309"/>
                  </a:lnTo>
                  <a:cubicBezTo>
                    <a:pt x="3547913" y="1001114"/>
                    <a:pt x="3567082" y="996321"/>
                    <a:pt x="3580394" y="994192"/>
                  </a:cubicBezTo>
                  <a:close/>
                  <a:moveTo>
                    <a:pt x="2529346" y="901606"/>
                  </a:moveTo>
                  <a:cubicBezTo>
                    <a:pt x="2533006" y="901673"/>
                    <a:pt x="2537799" y="903404"/>
                    <a:pt x="2547916" y="909528"/>
                  </a:cubicBezTo>
                  <a:cubicBezTo>
                    <a:pt x="2555903" y="927632"/>
                    <a:pt x="2579332" y="953723"/>
                    <a:pt x="2608619" y="977152"/>
                  </a:cubicBezTo>
                  <a:cubicBezTo>
                    <a:pt x="2644827" y="1008569"/>
                    <a:pt x="2689556" y="1038920"/>
                    <a:pt x="2718842" y="1051700"/>
                  </a:cubicBezTo>
                  <a:cubicBezTo>
                    <a:pt x="2747063" y="1053829"/>
                    <a:pt x="2775285" y="1055959"/>
                    <a:pt x="2803506" y="1057557"/>
                  </a:cubicBezTo>
                  <a:cubicBezTo>
                    <a:pt x="2804571" y="1095895"/>
                    <a:pt x="2702335" y="1149676"/>
                    <a:pt x="2668256" y="1154468"/>
                  </a:cubicBezTo>
                  <a:cubicBezTo>
                    <a:pt x="2656009" y="1151273"/>
                    <a:pt x="2642165" y="1147546"/>
                    <a:pt x="2629918" y="1145416"/>
                  </a:cubicBezTo>
                  <a:cubicBezTo>
                    <a:pt x="2622463" y="1139559"/>
                    <a:pt x="2615541" y="1132637"/>
                    <a:pt x="2608619" y="1124649"/>
                  </a:cubicBezTo>
                  <a:cubicBezTo>
                    <a:pt x="2568150" y="1077259"/>
                    <a:pt x="2533539" y="993659"/>
                    <a:pt x="2518629" y="951061"/>
                  </a:cubicBezTo>
                  <a:cubicBezTo>
                    <a:pt x="2517565" y="935087"/>
                    <a:pt x="2517565" y="919645"/>
                    <a:pt x="2517565" y="903670"/>
                  </a:cubicBezTo>
                  <a:cubicBezTo>
                    <a:pt x="2523156" y="903137"/>
                    <a:pt x="2525685" y="901540"/>
                    <a:pt x="2529346" y="901606"/>
                  </a:cubicBezTo>
                  <a:close/>
                  <a:moveTo>
                    <a:pt x="1595483" y="881273"/>
                  </a:moveTo>
                  <a:cubicBezTo>
                    <a:pt x="1591148" y="880907"/>
                    <a:pt x="1585857" y="881306"/>
                    <a:pt x="1578801" y="881839"/>
                  </a:cubicBezTo>
                  <a:cubicBezTo>
                    <a:pt x="1575074" y="881839"/>
                    <a:pt x="1569750" y="881839"/>
                    <a:pt x="1563892" y="881839"/>
                  </a:cubicBezTo>
                  <a:cubicBezTo>
                    <a:pt x="1559632" y="883969"/>
                    <a:pt x="1555905" y="887164"/>
                    <a:pt x="1552710" y="890358"/>
                  </a:cubicBezTo>
                  <a:cubicBezTo>
                    <a:pt x="1518099" y="915917"/>
                    <a:pt x="1528216" y="955321"/>
                    <a:pt x="1529281" y="1001647"/>
                  </a:cubicBezTo>
                  <a:cubicBezTo>
                    <a:pt x="1535671" y="999517"/>
                    <a:pt x="1543658" y="996854"/>
                    <a:pt x="1552710" y="992595"/>
                  </a:cubicBezTo>
                  <a:cubicBezTo>
                    <a:pt x="1560697" y="987802"/>
                    <a:pt x="1569750" y="983542"/>
                    <a:pt x="1578801" y="977685"/>
                  </a:cubicBezTo>
                  <a:cubicBezTo>
                    <a:pt x="1602231" y="962776"/>
                    <a:pt x="1624595" y="943606"/>
                    <a:pt x="1630452" y="922307"/>
                  </a:cubicBezTo>
                  <a:cubicBezTo>
                    <a:pt x="1612881" y="890358"/>
                    <a:pt x="1608488" y="882371"/>
                    <a:pt x="1595483" y="881273"/>
                  </a:cubicBezTo>
                  <a:close/>
                  <a:moveTo>
                    <a:pt x="578273" y="855746"/>
                  </a:moveTo>
                  <a:lnTo>
                    <a:pt x="576143" y="870122"/>
                  </a:lnTo>
                  <a:lnTo>
                    <a:pt x="577208" y="885032"/>
                  </a:lnTo>
                  <a:lnTo>
                    <a:pt x="577208" y="899409"/>
                  </a:lnTo>
                  <a:lnTo>
                    <a:pt x="583065" y="911656"/>
                  </a:lnTo>
                  <a:lnTo>
                    <a:pt x="609157" y="921773"/>
                  </a:lnTo>
                  <a:lnTo>
                    <a:pt x="610222" y="922838"/>
                  </a:lnTo>
                  <a:cubicBezTo>
                    <a:pt x="609157" y="905266"/>
                    <a:pt x="609157" y="887162"/>
                    <a:pt x="610222" y="869058"/>
                  </a:cubicBezTo>
                  <a:cubicBezTo>
                    <a:pt x="610222" y="867993"/>
                    <a:pt x="609157" y="867993"/>
                    <a:pt x="609157" y="866928"/>
                  </a:cubicBezTo>
                  <a:cubicBezTo>
                    <a:pt x="601169" y="862668"/>
                    <a:pt x="585727" y="855746"/>
                    <a:pt x="578273" y="855746"/>
                  </a:cubicBezTo>
                  <a:close/>
                  <a:moveTo>
                    <a:pt x="3589446" y="757771"/>
                  </a:moveTo>
                  <a:cubicBezTo>
                    <a:pt x="3581458" y="757771"/>
                    <a:pt x="3573471" y="759900"/>
                    <a:pt x="3566017" y="760965"/>
                  </a:cubicBezTo>
                  <a:cubicBezTo>
                    <a:pt x="3558030" y="766823"/>
                    <a:pt x="3544718" y="778005"/>
                    <a:pt x="3528743" y="790252"/>
                  </a:cubicBezTo>
                  <a:lnTo>
                    <a:pt x="3528743" y="790784"/>
                  </a:lnTo>
                  <a:cubicBezTo>
                    <a:pt x="3500522" y="815278"/>
                    <a:pt x="3468041" y="846695"/>
                    <a:pt x="3469105" y="863734"/>
                  </a:cubicBezTo>
                  <a:cubicBezTo>
                    <a:pt x="3482417" y="853617"/>
                    <a:pt x="3506379" y="840305"/>
                    <a:pt x="3528743" y="824331"/>
                  </a:cubicBezTo>
                  <a:cubicBezTo>
                    <a:pt x="3560159" y="803031"/>
                    <a:pt x="3590511" y="779070"/>
                    <a:pt x="3589446" y="757771"/>
                  </a:cubicBezTo>
                  <a:close/>
                  <a:moveTo>
                    <a:pt x="600104" y="741795"/>
                  </a:moveTo>
                  <a:cubicBezTo>
                    <a:pt x="595845" y="756704"/>
                    <a:pt x="592650" y="779068"/>
                    <a:pt x="601169" y="782796"/>
                  </a:cubicBezTo>
                  <a:cubicBezTo>
                    <a:pt x="602234" y="782796"/>
                    <a:pt x="605962" y="783861"/>
                    <a:pt x="609157" y="785991"/>
                  </a:cubicBezTo>
                  <a:cubicBezTo>
                    <a:pt x="611819" y="788121"/>
                    <a:pt x="615014" y="790250"/>
                    <a:pt x="616079" y="790250"/>
                  </a:cubicBezTo>
                  <a:cubicBezTo>
                    <a:pt x="617144" y="785991"/>
                    <a:pt x="622469" y="755639"/>
                    <a:pt x="620339" y="749782"/>
                  </a:cubicBezTo>
                  <a:cubicBezTo>
                    <a:pt x="619274" y="748717"/>
                    <a:pt x="613416" y="744990"/>
                    <a:pt x="609157" y="742860"/>
                  </a:cubicBezTo>
                  <a:cubicBezTo>
                    <a:pt x="604364" y="741795"/>
                    <a:pt x="602234" y="740730"/>
                    <a:pt x="600104" y="741795"/>
                  </a:cubicBezTo>
                  <a:close/>
                  <a:moveTo>
                    <a:pt x="3661538" y="687708"/>
                  </a:moveTo>
                  <a:cubicBezTo>
                    <a:pt x="3691615" y="686285"/>
                    <a:pt x="3726559" y="691077"/>
                    <a:pt x="3722566" y="730614"/>
                  </a:cubicBezTo>
                  <a:cubicBezTo>
                    <a:pt x="3692214" y="743926"/>
                    <a:pt x="3640564" y="808356"/>
                    <a:pt x="3618732" y="834448"/>
                  </a:cubicBezTo>
                  <a:cubicBezTo>
                    <a:pt x="3587316" y="850954"/>
                    <a:pt x="3558030" y="869059"/>
                    <a:pt x="3528743" y="887163"/>
                  </a:cubicBezTo>
                  <a:cubicBezTo>
                    <a:pt x="3484547" y="915385"/>
                    <a:pt x="3443014" y="945736"/>
                    <a:pt x="3402545" y="978217"/>
                  </a:cubicBezTo>
                  <a:cubicBezTo>
                    <a:pt x="3396688" y="977152"/>
                    <a:pt x="3391363" y="977152"/>
                    <a:pt x="3385506" y="977152"/>
                  </a:cubicBezTo>
                  <a:cubicBezTo>
                    <a:pt x="3384441" y="944671"/>
                    <a:pt x="3435026" y="899410"/>
                    <a:pt x="3460053" y="875981"/>
                  </a:cubicBezTo>
                  <a:cubicBezTo>
                    <a:pt x="3464846" y="871189"/>
                    <a:pt x="3462716" y="864799"/>
                    <a:pt x="3455793" y="867994"/>
                  </a:cubicBezTo>
                  <a:cubicBezTo>
                    <a:pt x="3422247" y="884501"/>
                    <a:pt x="3398286" y="922839"/>
                    <a:pt x="3356752" y="919644"/>
                  </a:cubicBezTo>
                  <a:cubicBezTo>
                    <a:pt x="3325336" y="921242"/>
                    <a:pt x="3293920" y="923372"/>
                    <a:pt x="3263568" y="925502"/>
                  </a:cubicBezTo>
                  <a:cubicBezTo>
                    <a:pt x="3251854" y="924437"/>
                    <a:pt x="3251854" y="924437"/>
                    <a:pt x="3238542" y="916450"/>
                  </a:cubicBezTo>
                  <a:cubicBezTo>
                    <a:pt x="3237476" y="898345"/>
                    <a:pt x="3238542" y="900475"/>
                    <a:pt x="3249724" y="890358"/>
                  </a:cubicBezTo>
                  <a:cubicBezTo>
                    <a:pt x="3333855" y="850954"/>
                    <a:pt x="3421714" y="797174"/>
                    <a:pt x="3509574" y="757771"/>
                  </a:cubicBezTo>
                  <a:cubicBezTo>
                    <a:pt x="3516496" y="754576"/>
                    <a:pt x="3522886" y="749783"/>
                    <a:pt x="3528743" y="746588"/>
                  </a:cubicBezTo>
                  <a:cubicBezTo>
                    <a:pt x="3563887" y="727419"/>
                    <a:pt x="3598498" y="709315"/>
                    <a:pt x="3634706" y="690146"/>
                  </a:cubicBezTo>
                  <a:cubicBezTo>
                    <a:pt x="3642028" y="689347"/>
                    <a:pt x="3651513" y="688182"/>
                    <a:pt x="3661538" y="687708"/>
                  </a:cubicBezTo>
                  <a:close/>
                  <a:moveTo>
                    <a:pt x="3106487" y="648612"/>
                  </a:moveTo>
                  <a:cubicBezTo>
                    <a:pt x="3152812" y="647547"/>
                    <a:pt x="3159202" y="700263"/>
                    <a:pt x="3233749" y="667781"/>
                  </a:cubicBezTo>
                  <a:cubicBezTo>
                    <a:pt x="3233749" y="666716"/>
                    <a:pt x="3234814" y="665652"/>
                    <a:pt x="3234814" y="665652"/>
                  </a:cubicBezTo>
                  <a:lnTo>
                    <a:pt x="3234814" y="750848"/>
                  </a:lnTo>
                  <a:cubicBezTo>
                    <a:pt x="3232684" y="765758"/>
                    <a:pt x="3228957" y="780135"/>
                    <a:pt x="3225762" y="789187"/>
                  </a:cubicBezTo>
                  <a:cubicBezTo>
                    <a:pt x="3219905" y="790252"/>
                    <a:pt x="3214580" y="791317"/>
                    <a:pt x="3208723" y="792382"/>
                  </a:cubicBezTo>
                  <a:cubicBezTo>
                    <a:pt x="3145890" y="762030"/>
                    <a:pt x="3108617" y="714640"/>
                    <a:pt x="3106487" y="661924"/>
                  </a:cubicBezTo>
                  <a:lnTo>
                    <a:pt x="3106487" y="651807"/>
                  </a:lnTo>
                  <a:cubicBezTo>
                    <a:pt x="3106487" y="650742"/>
                    <a:pt x="3106487" y="649677"/>
                    <a:pt x="3106487" y="648612"/>
                  </a:cubicBezTo>
                  <a:close/>
                  <a:moveTo>
                    <a:pt x="1575074" y="608144"/>
                  </a:moveTo>
                  <a:cubicBezTo>
                    <a:pt x="1566022" y="610274"/>
                    <a:pt x="1558567" y="612936"/>
                    <a:pt x="1552710" y="616131"/>
                  </a:cubicBezTo>
                  <a:cubicBezTo>
                    <a:pt x="1533541" y="625184"/>
                    <a:pt x="1526618" y="640625"/>
                    <a:pt x="1527684" y="671509"/>
                  </a:cubicBezTo>
                  <a:cubicBezTo>
                    <a:pt x="1533541" y="670444"/>
                    <a:pt x="1543658" y="663522"/>
                    <a:pt x="1552710" y="655535"/>
                  </a:cubicBezTo>
                  <a:cubicBezTo>
                    <a:pt x="1567087" y="640625"/>
                    <a:pt x="1581997" y="621456"/>
                    <a:pt x="1575074" y="608144"/>
                  </a:cubicBezTo>
                  <a:close/>
                  <a:moveTo>
                    <a:pt x="2635775" y="472893"/>
                  </a:moveTo>
                  <a:cubicBezTo>
                    <a:pt x="2661867" y="492062"/>
                    <a:pt x="2661867" y="492062"/>
                    <a:pt x="2689556" y="508037"/>
                  </a:cubicBezTo>
                  <a:cubicBezTo>
                    <a:pt x="2720972" y="548505"/>
                    <a:pt x="2667191" y="610274"/>
                    <a:pt x="2608619" y="661392"/>
                  </a:cubicBezTo>
                  <a:lnTo>
                    <a:pt x="2608619" y="553830"/>
                  </a:lnTo>
                  <a:cubicBezTo>
                    <a:pt x="2619801" y="526674"/>
                    <a:pt x="2619801" y="490997"/>
                    <a:pt x="2635775" y="472893"/>
                  </a:cubicBezTo>
                  <a:close/>
                  <a:moveTo>
                    <a:pt x="1655479" y="448932"/>
                  </a:moveTo>
                  <a:cubicBezTo>
                    <a:pt x="1629387" y="465971"/>
                    <a:pt x="1601166" y="478218"/>
                    <a:pt x="1578801" y="495257"/>
                  </a:cubicBezTo>
                  <a:cubicBezTo>
                    <a:pt x="1568685" y="503246"/>
                    <a:pt x="1558567" y="512298"/>
                    <a:pt x="1552710" y="523480"/>
                  </a:cubicBezTo>
                  <a:cubicBezTo>
                    <a:pt x="1545788" y="534662"/>
                    <a:pt x="1542593" y="547441"/>
                    <a:pt x="1542061" y="562351"/>
                  </a:cubicBezTo>
                  <a:cubicBezTo>
                    <a:pt x="1545255" y="561286"/>
                    <a:pt x="1548983" y="560221"/>
                    <a:pt x="1552177" y="558091"/>
                  </a:cubicBezTo>
                  <a:cubicBezTo>
                    <a:pt x="1561230" y="554896"/>
                    <a:pt x="1570282" y="550104"/>
                    <a:pt x="1578269" y="545844"/>
                  </a:cubicBezTo>
                  <a:cubicBezTo>
                    <a:pt x="1604361" y="532000"/>
                    <a:pt x="1626725" y="514960"/>
                    <a:pt x="1642699" y="481413"/>
                  </a:cubicBezTo>
                  <a:cubicBezTo>
                    <a:pt x="1656544" y="473426"/>
                    <a:pt x="1656544" y="473426"/>
                    <a:pt x="1667726" y="461179"/>
                  </a:cubicBezTo>
                  <a:cubicBezTo>
                    <a:pt x="1666661" y="456919"/>
                    <a:pt x="1666661" y="452127"/>
                    <a:pt x="1666661" y="449997"/>
                  </a:cubicBezTo>
                  <a:cubicBezTo>
                    <a:pt x="1662401" y="448932"/>
                    <a:pt x="1658673" y="448932"/>
                    <a:pt x="1655479" y="448932"/>
                  </a:cubicBezTo>
                  <a:close/>
                  <a:moveTo>
                    <a:pt x="3171982" y="389826"/>
                  </a:moveTo>
                  <a:cubicBezTo>
                    <a:pt x="3177839" y="394086"/>
                    <a:pt x="3183164" y="398878"/>
                    <a:pt x="3189021" y="403138"/>
                  </a:cubicBezTo>
                  <a:cubicBezTo>
                    <a:pt x="3195411" y="419112"/>
                    <a:pt x="3213515" y="436684"/>
                    <a:pt x="3234814" y="454789"/>
                  </a:cubicBezTo>
                  <a:cubicBezTo>
                    <a:pt x="3261971" y="478751"/>
                    <a:pt x="3292322" y="501115"/>
                    <a:pt x="3313621" y="520285"/>
                  </a:cubicBezTo>
                  <a:cubicBezTo>
                    <a:pt x="3315751" y="575130"/>
                    <a:pt x="3283270" y="591104"/>
                    <a:pt x="3234814" y="600156"/>
                  </a:cubicBezTo>
                  <a:lnTo>
                    <a:pt x="3233749" y="600156"/>
                  </a:lnTo>
                  <a:cubicBezTo>
                    <a:pt x="3231619" y="578857"/>
                    <a:pt x="3231619" y="558623"/>
                    <a:pt x="3230554" y="538389"/>
                  </a:cubicBezTo>
                  <a:cubicBezTo>
                    <a:pt x="3204463" y="506973"/>
                    <a:pt x="3123526" y="421242"/>
                    <a:pt x="3171982" y="389826"/>
                  </a:cubicBezTo>
                  <a:close/>
                  <a:moveTo>
                    <a:pt x="2558565" y="235940"/>
                  </a:moveTo>
                  <a:cubicBezTo>
                    <a:pt x="2573475" y="244992"/>
                    <a:pt x="2588917" y="248187"/>
                    <a:pt x="2599034" y="279603"/>
                  </a:cubicBezTo>
                  <a:cubicBezTo>
                    <a:pt x="2586787" y="368527"/>
                    <a:pt x="2575605" y="468633"/>
                    <a:pt x="2550578" y="565545"/>
                  </a:cubicBezTo>
                  <a:cubicBezTo>
                    <a:pt x="2550578" y="572467"/>
                    <a:pt x="2550578" y="578858"/>
                    <a:pt x="2551643" y="586845"/>
                  </a:cubicBezTo>
                  <a:cubicBezTo>
                    <a:pt x="2584125" y="586845"/>
                    <a:pt x="2599034" y="571934"/>
                    <a:pt x="2608086" y="553298"/>
                  </a:cubicBezTo>
                  <a:lnTo>
                    <a:pt x="2608086" y="660327"/>
                  </a:lnTo>
                  <a:cubicBezTo>
                    <a:pt x="2562825" y="698665"/>
                    <a:pt x="2513305" y="731147"/>
                    <a:pt x="2497863" y="743394"/>
                  </a:cubicBezTo>
                  <a:cubicBezTo>
                    <a:pt x="2480823" y="791849"/>
                    <a:pt x="2464317" y="841370"/>
                    <a:pt x="2447277" y="890891"/>
                  </a:cubicBezTo>
                  <a:cubicBezTo>
                    <a:pt x="2350898" y="1040517"/>
                    <a:pt x="2280077" y="1158728"/>
                    <a:pt x="2113411" y="1193339"/>
                  </a:cubicBezTo>
                  <a:cubicBezTo>
                    <a:pt x="2112346" y="1190144"/>
                    <a:pt x="2111281" y="1186417"/>
                    <a:pt x="2110217" y="1183222"/>
                  </a:cubicBezTo>
                  <a:cubicBezTo>
                    <a:pt x="2111281" y="1180027"/>
                    <a:pt x="2112346" y="1176300"/>
                    <a:pt x="2114476" y="1174170"/>
                  </a:cubicBezTo>
                  <a:cubicBezTo>
                    <a:pt x="2253986" y="1123584"/>
                    <a:pt x="2366873" y="964905"/>
                    <a:pt x="2394562" y="811551"/>
                  </a:cubicBezTo>
                  <a:cubicBezTo>
                    <a:pt x="2393497" y="808356"/>
                    <a:pt x="2393497" y="804629"/>
                    <a:pt x="2393497" y="801434"/>
                  </a:cubicBezTo>
                  <a:cubicBezTo>
                    <a:pt x="2341846" y="808356"/>
                    <a:pt x="2295520" y="826461"/>
                    <a:pt x="2250259" y="827526"/>
                  </a:cubicBezTo>
                  <a:cubicBezTo>
                    <a:pt x="2159204" y="774810"/>
                    <a:pt x="2212985" y="762031"/>
                    <a:pt x="2286467" y="748719"/>
                  </a:cubicBezTo>
                  <a:cubicBezTo>
                    <a:pt x="2337054" y="723692"/>
                    <a:pt x="2387639" y="694938"/>
                    <a:pt x="2433965" y="653937"/>
                  </a:cubicBezTo>
                  <a:cubicBezTo>
                    <a:pt x="2470174" y="535726"/>
                    <a:pt x="2509577" y="416450"/>
                    <a:pt x="2525019" y="300370"/>
                  </a:cubicBezTo>
                  <a:cubicBezTo>
                    <a:pt x="2546318" y="276941"/>
                    <a:pt x="2513837" y="252979"/>
                    <a:pt x="2558565" y="235940"/>
                  </a:cubicBezTo>
                  <a:close/>
                  <a:moveTo>
                    <a:pt x="3528210" y="194459"/>
                  </a:moveTo>
                  <a:lnTo>
                    <a:pt x="3528210" y="484076"/>
                  </a:lnTo>
                  <a:lnTo>
                    <a:pt x="3528743" y="483543"/>
                  </a:lnTo>
                  <a:lnTo>
                    <a:pt x="3528743" y="484076"/>
                  </a:lnTo>
                  <a:cubicBezTo>
                    <a:pt x="3508509" y="505375"/>
                    <a:pt x="3468041" y="540519"/>
                    <a:pt x="3495197" y="562883"/>
                  </a:cubicBezTo>
                  <a:cubicBezTo>
                    <a:pt x="3505314" y="561285"/>
                    <a:pt x="3512103" y="557558"/>
                    <a:pt x="3517161" y="553165"/>
                  </a:cubicBezTo>
                  <a:lnTo>
                    <a:pt x="3528210" y="540085"/>
                  </a:lnTo>
                  <a:lnTo>
                    <a:pt x="3528210" y="656599"/>
                  </a:lnTo>
                  <a:lnTo>
                    <a:pt x="3528743" y="656327"/>
                  </a:lnTo>
                  <a:lnTo>
                    <a:pt x="3528743" y="656599"/>
                  </a:lnTo>
                  <a:cubicBezTo>
                    <a:pt x="3488274" y="681626"/>
                    <a:pt x="3448871" y="708250"/>
                    <a:pt x="3406273" y="719432"/>
                  </a:cubicBezTo>
                  <a:cubicBezTo>
                    <a:pt x="3405208" y="715172"/>
                    <a:pt x="3403078" y="711445"/>
                    <a:pt x="3403078" y="707185"/>
                  </a:cubicBezTo>
                  <a:cubicBezTo>
                    <a:pt x="3430235" y="686951"/>
                    <a:pt x="3492002" y="651807"/>
                    <a:pt x="3496262" y="620391"/>
                  </a:cubicBezTo>
                  <a:cubicBezTo>
                    <a:pt x="3436624" y="593234"/>
                    <a:pt x="3443547" y="596962"/>
                    <a:pt x="3394026" y="629443"/>
                  </a:cubicBezTo>
                  <a:cubicBezTo>
                    <a:pt x="3321076" y="652872"/>
                    <a:pt x="3292855" y="661924"/>
                    <a:pt x="3246529" y="710380"/>
                  </a:cubicBezTo>
                  <a:cubicBezTo>
                    <a:pt x="3242269" y="722627"/>
                    <a:pt x="3238542" y="737536"/>
                    <a:pt x="3235347" y="750848"/>
                  </a:cubicBezTo>
                  <a:lnTo>
                    <a:pt x="3235347" y="665652"/>
                  </a:lnTo>
                  <a:cubicBezTo>
                    <a:pt x="3275815" y="624118"/>
                    <a:pt x="3325336" y="599092"/>
                    <a:pt x="3367934" y="560753"/>
                  </a:cubicBezTo>
                  <a:cubicBezTo>
                    <a:pt x="3368999" y="548506"/>
                    <a:pt x="3368999" y="535726"/>
                    <a:pt x="3370064" y="524544"/>
                  </a:cubicBezTo>
                  <a:cubicBezTo>
                    <a:pt x="3386039" y="523479"/>
                    <a:pt x="3402545" y="522414"/>
                    <a:pt x="3419585" y="520285"/>
                  </a:cubicBezTo>
                  <a:cubicBezTo>
                    <a:pt x="3457923" y="476621"/>
                    <a:pt x="3518626" y="380774"/>
                    <a:pt x="3511704" y="329123"/>
                  </a:cubicBezTo>
                  <a:cubicBezTo>
                    <a:pt x="3474430" y="329123"/>
                    <a:pt x="3438754" y="354150"/>
                    <a:pt x="3411598" y="341370"/>
                  </a:cubicBezTo>
                  <a:cubicBezTo>
                    <a:pt x="3410532" y="301967"/>
                    <a:pt x="3417455" y="305162"/>
                    <a:pt x="3447806" y="282798"/>
                  </a:cubicBezTo>
                  <a:close/>
                  <a:moveTo>
                    <a:pt x="52315" y="184090"/>
                  </a:moveTo>
                  <a:cubicBezTo>
                    <a:pt x="64296" y="184023"/>
                    <a:pt x="76676" y="185088"/>
                    <a:pt x="88391" y="188017"/>
                  </a:cubicBezTo>
                  <a:cubicBezTo>
                    <a:pt x="129925" y="196004"/>
                    <a:pt x="167198" y="221030"/>
                    <a:pt x="158146" y="272682"/>
                  </a:cubicBezTo>
                  <a:cubicBezTo>
                    <a:pt x="156016" y="288124"/>
                    <a:pt x="149094" y="290254"/>
                    <a:pt x="137912" y="296111"/>
                  </a:cubicBezTo>
                  <a:cubicBezTo>
                    <a:pt x="125132" y="301436"/>
                    <a:pt x="113950" y="306228"/>
                    <a:pt x="102768" y="308358"/>
                  </a:cubicBezTo>
                  <a:cubicBezTo>
                    <a:pt x="98508" y="309423"/>
                    <a:pt x="92651" y="309423"/>
                    <a:pt x="88391" y="309423"/>
                  </a:cubicBezTo>
                  <a:cubicBezTo>
                    <a:pt x="85729" y="309423"/>
                    <a:pt x="83599" y="309423"/>
                    <a:pt x="81469" y="309423"/>
                  </a:cubicBezTo>
                  <a:cubicBezTo>
                    <a:pt x="75612" y="306228"/>
                    <a:pt x="69754" y="303566"/>
                    <a:pt x="65494" y="299306"/>
                  </a:cubicBezTo>
                  <a:cubicBezTo>
                    <a:pt x="29286" y="271617"/>
                    <a:pt x="10117" y="229550"/>
                    <a:pt x="18636" y="186952"/>
                  </a:cubicBezTo>
                  <a:cubicBezTo>
                    <a:pt x="28753" y="185354"/>
                    <a:pt x="40334" y="184156"/>
                    <a:pt x="52315" y="184090"/>
                  </a:cubicBezTo>
                  <a:close/>
                  <a:moveTo>
                    <a:pt x="697548" y="95897"/>
                  </a:moveTo>
                  <a:cubicBezTo>
                    <a:pt x="698613" y="118261"/>
                    <a:pt x="698613" y="141690"/>
                    <a:pt x="698613" y="166717"/>
                  </a:cubicBezTo>
                  <a:cubicBezTo>
                    <a:pt x="703938" y="163522"/>
                    <a:pt x="708730" y="160859"/>
                    <a:pt x="712990" y="157665"/>
                  </a:cubicBezTo>
                  <a:cubicBezTo>
                    <a:pt x="717250" y="154470"/>
                    <a:pt x="721510" y="150210"/>
                    <a:pt x="727367" y="144353"/>
                  </a:cubicBezTo>
                  <a:cubicBezTo>
                    <a:pt x="727367" y="122521"/>
                    <a:pt x="723107" y="107079"/>
                    <a:pt x="712990" y="99092"/>
                  </a:cubicBezTo>
                  <a:cubicBezTo>
                    <a:pt x="708198" y="96962"/>
                    <a:pt x="703938" y="95897"/>
                    <a:pt x="697548" y="95897"/>
                  </a:cubicBezTo>
                  <a:close/>
                  <a:moveTo>
                    <a:pt x="1785205" y="42774"/>
                  </a:moveTo>
                  <a:cubicBezTo>
                    <a:pt x="1804873" y="40852"/>
                    <a:pt x="1812561" y="45445"/>
                    <a:pt x="1825341" y="84183"/>
                  </a:cubicBezTo>
                  <a:cubicBezTo>
                    <a:pt x="1816289" y="113469"/>
                    <a:pt x="1785937" y="129444"/>
                    <a:pt x="1779015" y="158730"/>
                  </a:cubicBezTo>
                  <a:cubicBezTo>
                    <a:pt x="1800314" y="148613"/>
                    <a:pt x="1820548" y="141691"/>
                    <a:pt x="1835458" y="118262"/>
                  </a:cubicBezTo>
                  <a:cubicBezTo>
                    <a:pt x="1858887" y="111339"/>
                    <a:pt x="1892966" y="127314"/>
                    <a:pt x="1895628" y="150211"/>
                  </a:cubicBezTo>
                  <a:lnTo>
                    <a:pt x="1895628" y="158198"/>
                  </a:lnTo>
                  <a:cubicBezTo>
                    <a:pt x="1893498" y="168315"/>
                    <a:pt x="1887641" y="179497"/>
                    <a:pt x="1873264" y="191744"/>
                  </a:cubicBezTo>
                  <a:cubicBezTo>
                    <a:pt x="1795522" y="219433"/>
                    <a:pt x="1708728" y="253512"/>
                    <a:pt x="1646959" y="304097"/>
                  </a:cubicBezTo>
                  <a:cubicBezTo>
                    <a:pt x="1623530" y="332319"/>
                    <a:pt x="1600633" y="360540"/>
                    <a:pt x="1578269" y="388761"/>
                  </a:cubicBezTo>
                  <a:cubicBezTo>
                    <a:pt x="1564425" y="398879"/>
                    <a:pt x="1556438" y="404736"/>
                    <a:pt x="1552177" y="408996"/>
                  </a:cubicBezTo>
                  <a:cubicBezTo>
                    <a:pt x="1544190" y="418048"/>
                    <a:pt x="1543126" y="424438"/>
                    <a:pt x="1536203" y="450529"/>
                  </a:cubicBezTo>
                  <a:cubicBezTo>
                    <a:pt x="1540996" y="449464"/>
                    <a:pt x="1546320" y="448399"/>
                    <a:pt x="1552177" y="446269"/>
                  </a:cubicBezTo>
                  <a:cubicBezTo>
                    <a:pt x="1560165" y="443074"/>
                    <a:pt x="1569217" y="438815"/>
                    <a:pt x="1578269" y="432957"/>
                  </a:cubicBezTo>
                  <a:cubicBezTo>
                    <a:pt x="1645894" y="395684"/>
                    <a:pt x="1747066" y="322734"/>
                    <a:pt x="1765170" y="431892"/>
                  </a:cubicBezTo>
                  <a:cubicBezTo>
                    <a:pt x="1802444" y="468101"/>
                    <a:pt x="1780080" y="479283"/>
                    <a:pt x="1742807" y="521882"/>
                  </a:cubicBezTo>
                  <a:cubicBezTo>
                    <a:pt x="1680505" y="573533"/>
                    <a:pt x="1641102" y="655535"/>
                    <a:pt x="1578269" y="711978"/>
                  </a:cubicBezTo>
                  <a:cubicBezTo>
                    <a:pt x="1570282" y="719965"/>
                    <a:pt x="1561230" y="726355"/>
                    <a:pt x="1552177" y="732212"/>
                  </a:cubicBezTo>
                  <a:cubicBezTo>
                    <a:pt x="1552177" y="735407"/>
                    <a:pt x="1552177" y="740199"/>
                    <a:pt x="1552177" y="744459"/>
                  </a:cubicBezTo>
                  <a:cubicBezTo>
                    <a:pt x="1559100" y="744459"/>
                    <a:pt x="1568152" y="741797"/>
                    <a:pt x="1578269" y="737537"/>
                  </a:cubicBezTo>
                  <a:cubicBezTo>
                    <a:pt x="1624595" y="718900"/>
                    <a:pt x="1705533" y="668847"/>
                    <a:pt x="1734819" y="654470"/>
                  </a:cubicBezTo>
                  <a:cubicBezTo>
                    <a:pt x="1760378" y="662990"/>
                    <a:pt x="1767300" y="669912"/>
                    <a:pt x="1767300" y="708250"/>
                  </a:cubicBezTo>
                  <a:cubicBezTo>
                    <a:pt x="1722572" y="744459"/>
                    <a:pt x="1679440" y="774810"/>
                    <a:pt x="1648024" y="823266"/>
                  </a:cubicBezTo>
                  <a:cubicBezTo>
                    <a:pt x="1648024" y="866929"/>
                    <a:pt x="1683168" y="866929"/>
                    <a:pt x="1726832" y="893021"/>
                  </a:cubicBezTo>
                  <a:cubicBezTo>
                    <a:pt x="1753988" y="933489"/>
                    <a:pt x="1649089" y="994724"/>
                    <a:pt x="1578269" y="1037323"/>
                  </a:cubicBezTo>
                  <a:cubicBezTo>
                    <a:pt x="1569217" y="1043180"/>
                    <a:pt x="1560165" y="1048505"/>
                    <a:pt x="1552177" y="1054362"/>
                  </a:cubicBezTo>
                  <a:cubicBezTo>
                    <a:pt x="1542061" y="1060219"/>
                    <a:pt x="1534606" y="1066077"/>
                    <a:pt x="1528749" y="1070337"/>
                  </a:cubicBezTo>
                  <a:cubicBezTo>
                    <a:pt x="1524489" y="1079389"/>
                    <a:pt x="1524489" y="1079389"/>
                    <a:pt x="1518631" y="1185352"/>
                  </a:cubicBezTo>
                  <a:cubicBezTo>
                    <a:pt x="1518631" y="1217833"/>
                    <a:pt x="1520761" y="1250847"/>
                    <a:pt x="1521826" y="1284393"/>
                  </a:cubicBezTo>
                  <a:cubicBezTo>
                    <a:pt x="1521826" y="1296641"/>
                    <a:pt x="1512774" y="1310485"/>
                    <a:pt x="1499462" y="1313680"/>
                  </a:cubicBezTo>
                  <a:cubicBezTo>
                    <a:pt x="1444617" y="1265224"/>
                    <a:pt x="1447812" y="1175235"/>
                    <a:pt x="1437694" y="1117727"/>
                  </a:cubicBezTo>
                  <a:cubicBezTo>
                    <a:pt x="1387109" y="1109740"/>
                    <a:pt x="1384446" y="1111870"/>
                    <a:pt x="1380187" y="1071402"/>
                  </a:cubicBezTo>
                  <a:cubicBezTo>
                    <a:pt x="1410538" y="1064479"/>
                    <a:pt x="1410538" y="1064479"/>
                    <a:pt x="1437694" y="1051167"/>
                  </a:cubicBezTo>
                  <a:cubicBezTo>
                    <a:pt x="1451539" y="1021881"/>
                    <a:pt x="1442487" y="936152"/>
                    <a:pt x="1434500" y="916982"/>
                  </a:cubicBezTo>
                  <a:cubicBezTo>
                    <a:pt x="1383914" y="918047"/>
                    <a:pt x="1327471" y="990465"/>
                    <a:pt x="1285938" y="1011764"/>
                  </a:cubicBezTo>
                  <a:cubicBezTo>
                    <a:pt x="1239612" y="1064479"/>
                    <a:pt x="1219378" y="1061284"/>
                    <a:pt x="1167727" y="1035193"/>
                  </a:cubicBezTo>
                  <a:cubicBezTo>
                    <a:pt x="1168792" y="1030933"/>
                    <a:pt x="1169857" y="1027206"/>
                    <a:pt x="1169857" y="1024011"/>
                  </a:cubicBezTo>
                  <a:cubicBezTo>
                    <a:pt x="1220975" y="1004842"/>
                    <a:pt x="1411070" y="886631"/>
                    <a:pt x="1422253" y="824863"/>
                  </a:cubicBezTo>
                  <a:cubicBezTo>
                    <a:pt x="1408408" y="822733"/>
                    <a:pt x="1408408" y="822733"/>
                    <a:pt x="1397226" y="814746"/>
                  </a:cubicBezTo>
                  <a:cubicBezTo>
                    <a:pt x="1397226" y="810486"/>
                    <a:pt x="1397226" y="805694"/>
                    <a:pt x="1397226" y="802499"/>
                  </a:cubicBezTo>
                  <a:cubicBezTo>
                    <a:pt x="1406278" y="795045"/>
                    <a:pt x="1417460" y="787057"/>
                    <a:pt x="1427577" y="779070"/>
                  </a:cubicBezTo>
                  <a:cubicBezTo>
                    <a:pt x="1435565" y="760966"/>
                    <a:pt x="1443552" y="703458"/>
                    <a:pt x="1435565" y="692276"/>
                  </a:cubicBezTo>
                  <a:cubicBezTo>
                    <a:pt x="1378057" y="692276"/>
                    <a:pt x="1354628" y="803564"/>
                    <a:pt x="1289133" y="782265"/>
                  </a:cubicBezTo>
                  <a:cubicBezTo>
                    <a:pt x="1253989" y="803564"/>
                    <a:pt x="1192221" y="854150"/>
                    <a:pt x="1153883" y="833916"/>
                  </a:cubicBezTo>
                  <a:cubicBezTo>
                    <a:pt x="1153883" y="824863"/>
                    <a:pt x="1154948" y="816876"/>
                    <a:pt x="1156013" y="808889"/>
                  </a:cubicBezTo>
                  <a:cubicBezTo>
                    <a:pt x="1188494" y="793447"/>
                    <a:pt x="1216715" y="771615"/>
                    <a:pt x="1263041" y="748186"/>
                  </a:cubicBezTo>
                  <a:cubicBezTo>
                    <a:pt x="1285405" y="708783"/>
                    <a:pt x="1263041" y="666184"/>
                    <a:pt x="1306704" y="656067"/>
                  </a:cubicBezTo>
                  <a:cubicBezTo>
                    <a:pt x="1312562" y="662990"/>
                    <a:pt x="1316822" y="669379"/>
                    <a:pt x="1323744" y="676302"/>
                  </a:cubicBezTo>
                  <a:cubicBezTo>
                    <a:pt x="1436630" y="675237"/>
                    <a:pt x="1438759" y="507505"/>
                    <a:pt x="1440889" y="435620"/>
                  </a:cubicBezTo>
                  <a:cubicBezTo>
                    <a:pt x="1463254" y="394086"/>
                    <a:pt x="1518099" y="401009"/>
                    <a:pt x="1523956" y="343501"/>
                  </a:cubicBezTo>
                  <a:cubicBezTo>
                    <a:pt x="1433967" y="356280"/>
                    <a:pt x="1443019" y="445204"/>
                    <a:pt x="1376459" y="458516"/>
                  </a:cubicBezTo>
                  <a:cubicBezTo>
                    <a:pt x="1366342" y="454256"/>
                    <a:pt x="1357290" y="450529"/>
                    <a:pt x="1348238" y="446269"/>
                  </a:cubicBezTo>
                  <a:cubicBezTo>
                    <a:pt x="1270496" y="446269"/>
                    <a:pt x="1234287" y="529337"/>
                    <a:pt x="1161337" y="469698"/>
                  </a:cubicBezTo>
                  <a:cubicBezTo>
                    <a:pt x="1161337" y="466503"/>
                    <a:pt x="1161337" y="462776"/>
                    <a:pt x="1161337" y="459581"/>
                  </a:cubicBezTo>
                  <a:cubicBezTo>
                    <a:pt x="1269431" y="405801"/>
                    <a:pt x="1269431" y="405801"/>
                    <a:pt x="1337056" y="376514"/>
                  </a:cubicBezTo>
                  <a:cubicBezTo>
                    <a:pt x="1385511" y="333916"/>
                    <a:pt x="1353030" y="247122"/>
                    <a:pt x="1363147" y="194406"/>
                  </a:cubicBezTo>
                  <a:cubicBezTo>
                    <a:pt x="1417993" y="193341"/>
                    <a:pt x="1415863" y="282265"/>
                    <a:pt x="1453136" y="312617"/>
                  </a:cubicBezTo>
                  <a:cubicBezTo>
                    <a:pt x="1485617" y="299305"/>
                    <a:pt x="1518631" y="285460"/>
                    <a:pt x="1552177" y="273213"/>
                  </a:cubicBezTo>
                  <a:cubicBezTo>
                    <a:pt x="1561230" y="270018"/>
                    <a:pt x="1569217" y="266291"/>
                    <a:pt x="1578269" y="263096"/>
                  </a:cubicBezTo>
                  <a:cubicBezTo>
                    <a:pt x="1584126" y="260434"/>
                    <a:pt x="1590516" y="258304"/>
                    <a:pt x="1596374" y="256174"/>
                  </a:cubicBezTo>
                  <a:cubicBezTo>
                    <a:pt x="1649622" y="190147"/>
                    <a:pt x="1705533" y="112404"/>
                    <a:pt x="1760911" y="45844"/>
                  </a:cubicBezTo>
                  <a:cubicBezTo>
                    <a:pt x="1770762" y="44779"/>
                    <a:pt x="1778649" y="43415"/>
                    <a:pt x="1785205" y="42774"/>
                  </a:cubicBezTo>
                  <a:close/>
                  <a:moveTo>
                    <a:pt x="677122" y="5334"/>
                  </a:moveTo>
                  <a:cubicBezTo>
                    <a:pt x="695418" y="7505"/>
                    <a:pt x="706600" y="24278"/>
                    <a:pt x="708198" y="55428"/>
                  </a:cubicBezTo>
                  <a:cubicBezTo>
                    <a:pt x="710328" y="55428"/>
                    <a:pt x="711393" y="55428"/>
                    <a:pt x="712458" y="55428"/>
                  </a:cubicBezTo>
                  <a:cubicBezTo>
                    <a:pt x="749731" y="57558"/>
                    <a:pt x="810434" y="104949"/>
                    <a:pt x="836526" y="143288"/>
                  </a:cubicBezTo>
                  <a:cubicBezTo>
                    <a:pt x="831733" y="191743"/>
                    <a:pt x="761978" y="242329"/>
                    <a:pt x="712458" y="269485"/>
                  </a:cubicBezTo>
                  <a:cubicBezTo>
                    <a:pt x="703406" y="273745"/>
                    <a:pt x="697016" y="277472"/>
                    <a:pt x="690094" y="280667"/>
                  </a:cubicBezTo>
                  <a:cubicBezTo>
                    <a:pt x="638443" y="327526"/>
                    <a:pt x="659742" y="366929"/>
                    <a:pt x="668794" y="420177"/>
                  </a:cubicBezTo>
                  <a:cubicBezTo>
                    <a:pt x="670924" y="428164"/>
                    <a:pt x="670924" y="429229"/>
                    <a:pt x="666664" y="435086"/>
                  </a:cubicBezTo>
                  <a:cubicBezTo>
                    <a:pt x="665599" y="437749"/>
                    <a:pt x="663470" y="439879"/>
                    <a:pt x="662405" y="440944"/>
                  </a:cubicBezTo>
                  <a:cubicBezTo>
                    <a:pt x="645898" y="465438"/>
                    <a:pt x="624599" y="494724"/>
                    <a:pt x="608624" y="524011"/>
                  </a:cubicBezTo>
                  <a:cubicBezTo>
                    <a:pt x="596377" y="546375"/>
                    <a:pt x="585195" y="569271"/>
                    <a:pt x="579338" y="591636"/>
                  </a:cubicBezTo>
                  <a:cubicBezTo>
                    <a:pt x="589455" y="584713"/>
                    <a:pt x="598507" y="577259"/>
                    <a:pt x="608624" y="570336"/>
                  </a:cubicBezTo>
                  <a:cubicBezTo>
                    <a:pt x="640573" y="545310"/>
                    <a:pt x="674119" y="521881"/>
                    <a:pt x="712458" y="512829"/>
                  </a:cubicBezTo>
                  <a:cubicBezTo>
                    <a:pt x="713523" y="511764"/>
                    <a:pt x="714588" y="511764"/>
                    <a:pt x="716718" y="511764"/>
                  </a:cubicBezTo>
                  <a:cubicBezTo>
                    <a:pt x="743874" y="531998"/>
                    <a:pt x="731627" y="555959"/>
                    <a:pt x="712458" y="579389"/>
                  </a:cubicBezTo>
                  <a:cubicBezTo>
                    <a:pt x="693288" y="603350"/>
                    <a:pt x="666664" y="626779"/>
                    <a:pt x="660807" y="645949"/>
                  </a:cubicBezTo>
                  <a:cubicBezTo>
                    <a:pt x="666132" y="664053"/>
                    <a:pt x="697548" y="660858"/>
                    <a:pt x="704471" y="713573"/>
                  </a:cubicBezTo>
                  <a:cubicBezTo>
                    <a:pt x="667729" y="863200"/>
                    <a:pt x="684236" y="1013360"/>
                    <a:pt x="710328" y="1175233"/>
                  </a:cubicBezTo>
                  <a:cubicBezTo>
                    <a:pt x="702341" y="1210910"/>
                    <a:pt x="652820" y="1217832"/>
                    <a:pt x="625663" y="1217832"/>
                  </a:cubicBezTo>
                  <a:cubicBezTo>
                    <a:pt x="619806" y="1213040"/>
                    <a:pt x="614481" y="1207715"/>
                    <a:pt x="608624" y="1200792"/>
                  </a:cubicBezTo>
                  <a:cubicBezTo>
                    <a:pt x="581468" y="1169376"/>
                    <a:pt x="558038" y="1116661"/>
                    <a:pt x="561233" y="1090569"/>
                  </a:cubicBezTo>
                  <a:cubicBezTo>
                    <a:pt x="592650" y="1103349"/>
                    <a:pt x="594247" y="1104414"/>
                    <a:pt x="608624" y="1105479"/>
                  </a:cubicBezTo>
                  <a:cubicBezTo>
                    <a:pt x="608624" y="1105479"/>
                    <a:pt x="609689" y="1105479"/>
                    <a:pt x="610754" y="1105479"/>
                  </a:cubicBezTo>
                  <a:cubicBezTo>
                    <a:pt x="620871" y="1076192"/>
                    <a:pt x="617676" y="1029866"/>
                    <a:pt x="608624" y="1008567"/>
                  </a:cubicBezTo>
                  <a:cubicBezTo>
                    <a:pt x="607559" y="1007502"/>
                    <a:pt x="606494" y="1006437"/>
                    <a:pt x="606494" y="1005372"/>
                  </a:cubicBezTo>
                  <a:cubicBezTo>
                    <a:pt x="572948" y="994190"/>
                    <a:pt x="567091" y="994190"/>
                    <a:pt x="555909" y="972891"/>
                  </a:cubicBezTo>
                  <a:cubicBezTo>
                    <a:pt x="551649" y="972891"/>
                    <a:pt x="546856" y="972891"/>
                    <a:pt x="543662" y="973956"/>
                  </a:cubicBezTo>
                  <a:cubicBezTo>
                    <a:pt x="534609" y="995255"/>
                    <a:pt x="531947" y="1026672"/>
                    <a:pt x="518635" y="1072997"/>
                  </a:cubicBezTo>
                  <a:cubicBezTo>
                    <a:pt x="514375" y="1104946"/>
                    <a:pt x="518635" y="1256703"/>
                    <a:pt x="449945" y="1246586"/>
                  </a:cubicBezTo>
                  <a:cubicBezTo>
                    <a:pt x="417464" y="1219429"/>
                    <a:pt x="420659" y="1221559"/>
                    <a:pt x="419594" y="1188013"/>
                  </a:cubicBezTo>
                  <a:cubicBezTo>
                    <a:pt x="441958" y="1074062"/>
                    <a:pt x="465387" y="975021"/>
                    <a:pt x="500531" y="866928"/>
                  </a:cubicBezTo>
                  <a:cubicBezTo>
                    <a:pt x="503726" y="815277"/>
                    <a:pt x="529817" y="776939"/>
                    <a:pt x="542064" y="734340"/>
                  </a:cubicBezTo>
                  <a:cubicBezTo>
                    <a:pt x="499998" y="734340"/>
                    <a:pt x="463257" y="778536"/>
                    <a:pt x="438230" y="730080"/>
                  </a:cubicBezTo>
                  <a:cubicBezTo>
                    <a:pt x="438230" y="723158"/>
                    <a:pt x="438230" y="716768"/>
                    <a:pt x="439296" y="709846"/>
                  </a:cubicBezTo>
                  <a:cubicBezTo>
                    <a:pt x="497868" y="644351"/>
                    <a:pt x="505855" y="583648"/>
                    <a:pt x="487751" y="504841"/>
                  </a:cubicBezTo>
                  <a:cubicBezTo>
                    <a:pt x="486686" y="498984"/>
                    <a:pt x="492543" y="492062"/>
                    <a:pt x="494673" y="487802"/>
                  </a:cubicBezTo>
                  <a:cubicBezTo>
                    <a:pt x="508518" y="462775"/>
                    <a:pt x="528752" y="433489"/>
                    <a:pt x="520765" y="410060"/>
                  </a:cubicBezTo>
                  <a:cubicBezTo>
                    <a:pt x="481361" y="410060"/>
                    <a:pt x="436633" y="468633"/>
                    <a:pt x="410542" y="492062"/>
                  </a:cubicBezTo>
                  <a:cubicBezTo>
                    <a:pt x="350904" y="535725"/>
                    <a:pt x="344514" y="545842"/>
                    <a:pt x="317358" y="562882"/>
                  </a:cubicBezTo>
                  <a:cubicBezTo>
                    <a:pt x="230563" y="587908"/>
                    <a:pt x="229498" y="586843"/>
                    <a:pt x="217251" y="666715"/>
                  </a:cubicBezTo>
                  <a:cubicBezTo>
                    <a:pt x="223109" y="787056"/>
                    <a:pt x="199147" y="934553"/>
                    <a:pt x="155484" y="1054893"/>
                  </a:cubicBezTo>
                  <a:cubicBezTo>
                    <a:pt x="148561" y="1096959"/>
                    <a:pt x="143237" y="1138492"/>
                    <a:pt x="136314" y="1180026"/>
                  </a:cubicBezTo>
                  <a:cubicBezTo>
                    <a:pt x="136314" y="1218897"/>
                    <a:pt x="147496" y="1292379"/>
                    <a:pt x="100106" y="1312613"/>
                  </a:cubicBezTo>
                  <a:cubicBezTo>
                    <a:pt x="95846" y="1309951"/>
                    <a:pt x="91054" y="1307821"/>
                    <a:pt x="87859" y="1305691"/>
                  </a:cubicBezTo>
                  <a:cubicBezTo>
                    <a:pt x="58572" y="1289717"/>
                    <a:pt x="38338" y="1276405"/>
                    <a:pt x="21299" y="1256170"/>
                  </a:cubicBezTo>
                  <a:cubicBezTo>
                    <a:pt x="9052" y="1192805"/>
                    <a:pt x="9052" y="1192805"/>
                    <a:pt x="1064" y="1121985"/>
                  </a:cubicBezTo>
                  <a:cubicBezTo>
                    <a:pt x="1064" y="1084179"/>
                    <a:pt x="2129" y="1045841"/>
                    <a:pt x="2129" y="1009632"/>
                  </a:cubicBezTo>
                  <a:cubicBezTo>
                    <a:pt x="4259" y="937215"/>
                    <a:pt x="5324" y="866395"/>
                    <a:pt x="6389" y="796640"/>
                  </a:cubicBezTo>
                  <a:cubicBezTo>
                    <a:pt x="5324" y="770549"/>
                    <a:pt x="5324" y="744990"/>
                    <a:pt x="4259" y="718898"/>
                  </a:cubicBezTo>
                  <a:cubicBezTo>
                    <a:pt x="2129" y="692807"/>
                    <a:pt x="0" y="666183"/>
                    <a:pt x="0" y="639026"/>
                  </a:cubicBezTo>
                  <a:lnTo>
                    <a:pt x="0" y="632104"/>
                  </a:lnTo>
                  <a:cubicBezTo>
                    <a:pt x="0" y="576726"/>
                    <a:pt x="12779" y="526141"/>
                    <a:pt x="65495" y="504841"/>
                  </a:cubicBezTo>
                  <a:cubicBezTo>
                    <a:pt x="76677" y="510166"/>
                    <a:pt x="82001" y="521881"/>
                    <a:pt x="87859" y="536258"/>
                  </a:cubicBezTo>
                  <a:cubicBezTo>
                    <a:pt x="95846" y="559687"/>
                    <a:pt x="100106" y="590038"/>
                    <a:pt x="116080" y="617195"/>
                  </a:cubicBezTo>
                  <a:cubicBezTo>
                    <a:pt x="177848" y="637429"/>
                    <a:pt x="144302" y="715171"/>
                    <a:pt x="144302" y="775874"/>
                  </a:cubicBezTo>
                  <a:cubicBezTo>
                    <a:pt x="157614" y="754574"/>
                    <a:pt x="162406" y="724223"/>
                    <a:pt x="165601" y="702924"/>
                  </a:cubicBezTo>
                  <a:cubicBezTo>
                    <a:pt x="173588" y="601220"/>
                    <a:pt x="165601" y="565544"/>
                    <a:pt x="223109" y="498984"/>
                  </a:cubicBezTo>
                  <a:cubicBezTo>
                    <a:pt x="258252" y="476087"/>
                    <a:pt x="313098" y="445736"/>
                    <a:pt x="339189" y="424437"/>
                  </a:cubicBezTo>
                  <a:cubicBezTo>
                    <a:pt x="521830" y="322733"/>
                    <a:pt x="521830" y="322733"/>
                    <a:pt x="536207" y="310486"/>
                  </a:cubicBezTo>
                  <a:cubicBezTo>
                    <a:pt x="577740" y="245524"/>
                    <a:pt x="584130" y="161924"/>
                    <a:pt x="609157" y="91105"/>
                  </a:cubicBezTo>
                  <a:cubicBezTo>
                    <a:pt x="619274" y="60753"/>
                    <a:pt x="634183" y="31467"/>
                    <a:pt x="656547" y="8038"/>
                  </a:cubicBezTo>
                  <a:cubicBezTo>
                    <a:pt x="664135" y="5509"/>
                    <a:pt x="671024" y="4610"/>
                    <a:pt x="677122" y="5334"/>
                  </a:cubicBezTo>
                  <a:close/>
                  <a:moveTo>
                    <a:pt x="3645157" y="983"/>
                  </a:moveTo>
                  <a:cubicBezTo>
                    <a:pt x="3663860" y="4710"/>
                    <a:pt x="3686358" y="18421"/>
                    <a:pt x="3704994" y="31467"/>
                  </a:cubicBezTo>
                  <a:cubicBezTo>
                    <a:pt x="3740138" y="88975"/>
                    <a:pt x="3691682" y="112404"/>
                    <a:pt x="3640564" y="159795"/>
                  </a:cubicBezTo>
                  <a:cubicBezTo>
                    <a:pt x="3611278" y="197068"/>
                    <a:pt x="3580926" y="237537"/>
                    <a:pt x="3543652" y="268953"/>
                  </a:cubicBezTo>
                  <a:cubicBezTo>
                    <a:pt x="3543652" y="271083"/>
                    <a:pt x="3544718" y="275875"/>
                    <a:pt x="3544718" y="279070"/>
                  </a:cubicBezTo>
                  <a:cubicBezTo>
                    <a:pt x="3595303" y="289187"/>
                    <a:pt x="3619265" y="274810"/>
                    <a:pt x="3621394" y="334448"/>
                  </a:cubicBezTo>
                  <a:cubicBezTo>
                    <a:pt x="3606485" y="359475"/>
                    <a:pt x="3580926" y="382904"/>
                    <a:pt x="3587849" y="419112"/>
                  </a:cubicBezTo>
                  <a:cubicBezTo>
                    <a:pt x="3663460" y="393021"/>
                    <a:pt x="3731086" y="354682"/>
                    <a:pt x="3812022" y="414853"/>
                  </a:cubicBezTo>
                  <a:cubicBezTo>
                    <a:pt x="3812022" y="416450"/>
                    <a:pt x="3812022" y="419112"/>
                    <a:pt x="3812022" y="421242"/>
                  </a:cubicBezTo>
                  <a:lnTo>
                    <a:pt x="3812022" y="443606"/>
                  </a:lnTo>
                  <a:cubicBezTo>
                    <a:pt x="3804035" y="511232"/>
                    <a:pt x="3718306" y="538389"/>
                    <a:pt x="3680500" y="594299"/>
                  </a:cubicBezTo>
                  <a:cubicBezTo>
                    <a:pt x="3671448" y="598559"/>
                    <a:pt x="3662396" y="604416"/>
                    <a:pt x="3654409" y="611339"/>
                  </a:cubicBezTo>
                  <a:cubicBezTo>
                    <a:pt x="3631245" y="611871"/>
                    <a:pt x="3609547" y="617462"/>
                    <a:pt x="3588713" y="625782"/>
                  </a:cubicBezTo>
                  <a:lnTo>
                    <a:pt x="3528743" y="656327"/>
                  </a:lnTo>
                  <a:lnTo>
                    <a:pt x="3528743" y="539454"/>
                  </a:lnTo>
                  <a:lnTo>
                    <a:pt x="3528210" y="540085"/>
                  </a:lnTo>
                  <a:lnTo>
                    <a:pt x="3528210" y="539454"/>
                  </a:lnTo>
                  <a:cubicBezTo>
                    <a:pt x="3539393" y="525077"/>
                    <a:pt x="3549510" y="514427"/>
                    <a:pt x="3607018" y="543714"/>
                  </a:cubicBezTo>
                  <a:cubicBezTo>
                    <a:pt x="3662396" y="536791"/>
                    <a:pt x="3687954" y="488336"/>
                    <a:pt x="3715111" y="446801"/>
                  </a:cubicBezTo>
                  <a:cubicBezTo>
                    <a:pt x="3702864" y="404203"/>
                    <a:pt x="3566549" y="469165"/>
                    <a:pt x="3537263" y="475024"/>
                  </a:cubicBezTo>
                  <a:lnTo>
                    <a:pt x="3528743" y="483543"/>
                  </a:lnTo>
                  <a:lnTo>
                    <a:pt x="3528743" y="193873"/>
                  </a:lnTo>
                  <a:lnTo>
                    <a:pt x="3528210" y="194459"/>
                  </a:lnTo>
                  <a:lnTo>
                    <a:pt x="3528210" y="193873"/>
                  </a:lnTo>
                  <a:cubicBezTo>
                    <a:pt x="3574537" y="146483"/>
                    <a:pt x="3615005" y="96962"/>
                    <a:pt x="3608082" y="30402"/>
                  </a:cubicBezTo>
                  <a:cubicBezTo>
                    <a:pt x="3611543" y="3512"/>
                    <a:pt x="3626453" y="-2745"/>
                    <a:pt x="3645157" y="983"/>
                  </a:cubicBez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49" name="îṥlîḋê"/>
            <p:cNvSpPr/>
            <p:nvPr userDrawn="1"/>
          </p:nvSpPr>
          <p:spPr>
            <a:xfrm>
              <a:off x="4486927" y="4159426"/>
              <a:ext cx="3700885" cy="373260"/>
            </a:xfrm>
            <a:custGeom>
              <a:avLst/>
              <a:gdLst>
                <a:gd name="connsiteX0" fmla="*/ 2873364 w 3817880"/>
                <a:gd name="connsiteY0" fmla="*/ 329175 h 420659"/>
                <a:gd name="connsiteX1" fmla="*/ 2873364 w 3817880"/>
                <a:gd name="connsiteY1" fmla="*/ 302019 h 420659"/>
                <a:gd name="connsiteX2" fmla="*/ 2893598 w 3817880"/>
                <a:gd name="connsiteY2" fmla="*/ 304149 h 420659"/>
                <a:gd name="connsiteX3" fmla="*/ 2926080 w 3817880"/>
                <a:gd name="connsiteY3" fmla="*/ 298291 h 420659"/>
                <a:gd name="connsiteX4" fmla="*/ 2962288 w 3817880"/>
                <a:gd name="connsiteY4" fmla="*/ 278057 h 420659"/>
                <a:gd name="connsiteX5" fmla="*/ 2962288 w 3817880"/>
                <a:gd name="connsiteY5" fmla="*/ 303084 h 420659"/>
                <a:gd name="connsiteX6" fmla="*/ 2921820 w 3817880"/>
                <a:gd name="connsiteY6" fmla="*/ 322253 h 420659"/>
                <a:gd name="connsiteX7" fmla="*/ 2880286 w 3817880"/>
                <a:gd name="connsiteY7" fmla="*/ 329175 h 420659"/>
                <a:gd name="connsiteX8" fmla="*/ 2873364 w 3817880"/>
                <a:gd name="connsiteY8" fmla="*/ 329175 h 420659"/>
                <a:gd name="connsiteX9" fmla="*/ 2873364 w 3817880"/>
                <a:gd name="connsiteY9" fmla="*/ 329175 h 420659"/>
                <a:gd name="connsiteX10" fmla="*/ 2873364 w 3817880"/>
                <a:gd name="connsiteY10" fmla="*/ 209367 h 420659"/>
                <a:gd name="connsiteX11" fmla="*/ 2873364 w 3817880"/>
                <a:gd name="connsiteY11" fmla="*/ 191263 h 420659"/>
                <a:gd name="connsiteX12" fmla="*/ 2922885 w 3817880"/>
                <a:gd name="connsiteY12" fmla="*/ 191263 h 420659"/>
                <a:gd name="connsiteX13" fmla="*/ 2922885 w 3817880"/>
                <a:gd name="connsiteY13" fmla="*/ 184341 h 420659"/>
                <a:gd name="connsiteX14" fmla="*/ 2911703 w 3817880"/>
                <a:gd name="connsiteY14" fmla="*/ 143872 h 420659"/>
                <a:gd name="connsiteX15" fmla="*/ 2878156 w 3817880"/>
                <a:gd name="connsiteY15" fmla="*/ 128963 h 420659"/>
                <a:gd name="connsiteX16" fmla="*/ 2873897 w 3817880"/>
                <a:gd name="connsiteY16" fmla="*/ 128963 h 420659"/>
                <a:gd name="connsiteX17" fmla="*/ 2873897 w 3817880"/>
                <a:gd name="connsiteY17" fmla="*/ 109794 h 420659"/>
                <a:gd name="connsiteX18" fmla="*/ 2884014 w 3817880"/>
                <a:gd name="connsiteY18" fmla="*/ 108729 h 420659"/>
                <a:gd name="connsiteX19" fmla="*/ 2941522 w 3817880"/>
                <a:gd name="connsiteY19" fmla="*/ 132158 h 420659"/>
                <a:gd name="connsiteX20" fmla="*/ 2962821 w 3817880"/>
                <a:gd name="connsiteY20" fmla="*/ 194990 h 420659"/>
                <a:gd name="connsiteX21" fmla="*/ 2962821 w 3817880"/>
                <a:gd name="connsiteY21" fmla="*/ 202978 h 420659"/>
                <a:gd name="connsiteX22" fmla="*/ 2962821 w 3817880"/>
                <a:gd name="connsiteY22" fmla="*/ 208835 h 420659"/>
                <a:gd name="connsiteX23" fmla="*/ 2873364 w 3817880"/>
                <a:gd name="connsiteY23" fmla="*/ 208835 h 420659"/>
                <a:gd name="connsiteX24" fmla="*/ 2873364 w 3817880"/>
                <a:gd name="connsiteY24" fmla="*/ 209367 h 420659"/>
                <a:gd name="connsiteX25" fmla="*/ 2994770 w 3817880"/>
                <a:gd name="connsiteY25" fmla="*/ 325448 h 420659"/>
                <a:gd name="connsiteX26" fmla="*/ 2994770 w 3817880"/>
                <a:gd name="connsiteY26" fmla="*/ 309473 h 420659"/>
                <a:gd name="connsiteX27" fmla="*/ 3017134 w 3817880"/>
                <a:gd name="connsiteY27" fmla="*/ 307343 h 420659"/>
                <a:gd name="connsiteX28" fmla="*/ 3025121 w 3817880"/>
                <a:gd name="connsiteY28" fmla="*/ 299356 h 420659"/>
                <a:gd name="connsiteX29" fmla="*/ 3025121 w 3817880"/>
                <a:gd name="connsiteY29" fmla="*/ 141742 h 420659"/>
                <a:gd name="connsiteX30" fmla="*/ 2994770 w 3817880"/>
                <a:gd name="connsiteY30" fmla="*/ 141742 h 420659"/>
                <a:gd name="connsiteX31" fmla="*/ 2994770 w 3817880"/>
                <a:gd name="connsiteY31" fmla="*/ 127365 h 420659"/>
                <a:gd name="connsiteX32" fmla="*/ 3045355 w 3817880"/>
                <a:gd name="connsiteY32" fmla="*/ 112456 h 420659"/>
                <a:gd name="connsiteX33" fmla="*/ 3062395 w 3817880"/>
                <a:gd name="connsiteY33" fmla="*/ 112456 h 420659"/>
                <a:gd name="connsiteX34" fmla="*/ 3062395 w 3817880"/>
                <a:gd name="connsiteY34" fmla="*/ 152924 h 420659"/>
                <a:gd name="connsiteX35" fmla="*/ 3083694 w 3817880"/>
                <a:gd name="connsiteY35" fmla="*/ 131625 h 420659"/>
                <a:gd name="connsiteX36" fmla="*/ 3108720 w 3817880"/>
                <a:gd name="connsiteY36" fmla="*/ 110326 h 420659"/>
                <a:gd name="connsiteX37" fmla="*/ 3112980 w 3817880"/>
                <a:gd name="connsiteY37" fmla="*/ 110326 h 420659"/>
                <a:gd name="connsiteX38" fmla="*/ 3119902 w 3817880"/>
                <a:gd name="connsiteY38" fmla="*/ 109261 h 420659"/>
                <a:gd name="connsiteX39" fmla="*/ 3132149 w 3817880"/>
                <a:gd name="connsiteY39" fmla="*/ 111391 h 420659"/>
                <a:gd name="connsiteX40" fmla="*/ 3145461 w 3817880"/>
                <a:gd name="connsiteY40" fmla="*/ 115651 h 420659"/>
                <a:gd name="connsiteX41" fmla="*/ 3145461 w 3817880"/>
                <a:gd name="connsiteY41" fmla="*/ 152924 h 420659"/>
                <a:gd name="connsiteX42" fmla="*/ 3132149 w 3817880"/>
                <a:gd name="connsiteY42" fmla="*/ 152924 h 420659"/>
                <a:gd name="connsiteX43" fmla="*/ 3122032 w 3817880"/>
                <a:gd name="connsiteY43" fmla="*/ 144937 h 420659"/>
                <a:gd name="connsiteX44" fmla="*/ 3109785 w 3817880"/>
                <a:gd name="connsiteY44" fmla="*/ 142807 h 420659"/>
                <a:gd name="connsiteX45" fmla="*/ 3087421 w 3817880"/>
                <a:gd name="connsiteY45" fmla="*/ 150794 h 420659"/>
                <a:gd name="connsiteX46" fmla="*/ 3062395 w 3817880"/>
                <a:gd name="connsiteY46" fmla="*/ 174223 h 420659"/>
                <a:gd name="connsiteX47" fmla="*/ 3062395 w 3817880"/>
                <a:gd name="connsiteY47" fmla="*/ 299356 h 420659"/>
                <a:gd name="connsiteX48" fmla="*/ 3069317 w 3817880"/>
                <a:gd name="connsiteY48" fmla="*/ 307343 h 420659"/>
                <a:gd name="connsiteX49" fmla="*/ 3099668 w 3817880"/>
                <a:gd name="connsiteY49" fmla="*/ 309473 h 420659"/>
                <a:gd name="connsiteX50" fmla="*/ 3099668 w 3817880"/>
                <a:gd name="connsiteY50" fmla="*/ 325448 h 420659"/>
                <a:gd name="connsiteX51" fmla="*/ 2994770 w 3817880"/>
                <a:gd name="connsiteY51" fmla="*/ 325448 h 420659"/>
                <a:gd name="connsiteX52" fmla="*/ 2994770 w 3817880"/>
                <a:gd name="connsiteY52" fmla="*/ 325448 h 420659"/>
                <a:gd name="connsiteX53" fmla="*/ 3299880 w 3817880"/>
                <a:gd name="connsiteY53" fmla="*/ 119378 h 420659"/>
                <a:gd name="connsiteX54" fmla="*/ 3299880 w 3817880"/>
                <a:gd name="connsiteY54" fmla="*/ 168899 h 420659"/>
                <a:gd name="connsiteX55" fmla="*/ 3277516 w 3817880"/>
                <a:gd name="connsiteY55" fmla="*/ 168899 h 420659"/>
                <a:gd name="connsiteX56" fmla="*/ 3274322 w 3817880"/>
                <a:gd name="connsiteY56" fmla="*/ 138547 h 420659"/>
                <a:gd name="connsiteX57" fmla="*/ 3257282 w 3817880"/>
                <a:gd name="connsiteY57" fmla="*/ 130560 h 420659"/>
                <a:gd name="connsiteX58" fmla="*/ 3241308 w 3817880"/>
                <a:gd name="connsiteY58" fmla="*/ 128430 h 420659"/>
                <a:gd name="connsiteX59" fmla="*/ 3215216 w 3817880"/>
                <a:gd name="connsiteY59" fmla="*/ 137482 h 420659"/>
                <a:gd name="connsiteX60" fmla="*/ 3205099 w 3817880"/>
                <a:gd name="connsiteY60" fmla="*/ 159847 h 420659"/>
                <a:gd name="connsiteX61" fmla="*/ 3213086 w 3817880"/>
                <a:gd name="connsiteY61" fmla="*/ 181146 h 420659"/>
                <a:gd name="connsiteX62" fmla="*/ 3242373 w 3817880"/>
                <a:gd name="connsiteY62" fmla="*/ 200315 h 420659"/>
                <a:gd name="connsiteX63" fmla="*/ 3253555 w 3817880"/>
                <a:gd name="connsiteY63" fmla="*/ 204575 h 420659"/>
                <a:gd name="connsiteX64" fmla="*/ 3288699 w 3817880"/>
                <a:gd name="connsiteY64" fmla="*/ 224809 h 420659"/>
                <a:gd name="connsiteX65" fmla="*/ 3300946 w 3817880"/>
                <a:gd name="connsiteY65" fmla="*/ 241848 h 420659"/>
                <a:gd name="connsiteX66" fmla="*/ 3305205 w 3817880"/>
                <a:gd name="connsiteY66" fmla="*/ 263148 h 420659"/>
                <a:gd name="connsiteX67" fmla="*/ 3283906 w 3817880"/>
                <a:gd name="connsiteY67" fmla="*/ 311603 h 420659"/>
                <a:gd name="connsiteX68" fmla="*/ 3223203 w 3817880"/>
                <a:gd name="connsiteY68" fmla="*/ 328643 h 420659"/>
                <a:gd name="connsiteX69" fmla="*/ 3193917 w 3817880"/>
                <a:gd name="connsiteY69" fmla="*/ 326513 h 420659"/>
                <a:gd name="connsiteX70" fmla="*/ 3166761 w 3817880"/>
                <a:gd name="connsiteY70" fmla="*/ 319591 h 420659"/>
                <a:gd name="connsiteX71" fmla="*/ 3166761 w 3817880"/>
                <a:gd name="connsiteY71" fmla="*/ 262083 h 420659"/>
                <a:gd name="connsiteX72" fmla="*/ 3188060 w 3817880"/>
                <a:gd name="connsiteY72" fmla="*/ 262083 h 420659"/>
                <a:gd name="connsiteX73" fmla="*/ 3192319 w 3817880"/>
                <a:gd name="connsiteY73" fmla="*/ 299356 h 420659"/>
                <a:gd name="connsiteX74" fmla="*/ 3211489 w 3817880"/>
                <a:gd name="connsiteY74" fmla="*/ 307343 h 420659"/>
                <a:gd name="connsiteX75" fmla="*/ 3229593 w 3817880"/>
                <a:gd name="connsiteY75" fmla="*/ 310538 h 420659"/>
                <a:gd name="connsiteX76" fmla="*/ 3259944 w 3817880"/>
                <a:gd name="connsiteY76" fmla="*/ 300421 h 420659"/>
                <a:gd name="connsiteX77" fmla="*/ 3271126 w 3817880"/>
                <a:gd name="connsiteY77" fmla="*/ 274330 h 420659"/>
                <a:gd name="connsiteX78" fmla="*/ 3263139 w 3817880"/>
                <a:gd name="connsiteY78" fmla="*/ 253031 h 420659"/>
                <a:gd name="connsiteX79" fmla="*/ 3225866 w 3817880"/>
                <a:gd name="connsiteY79" fmla="*/ 230666 h 420659"/>
                <a:gd name="connsiteX80" fmla="*/ 3182203 w 3817880"/>
                <a:gd name="connsiteY80" fmla="*/ 203510 h 420659"/>
                <a:gd name="connsiteX81" fmla="*/ 3169955 w 3817880"/>
                <a:gd name="connsiteY81" fmla="*/ 171029 h 420659"/>
                <a:gd name="connsiteX82" fmla="*/ 3190190 w 3817880"/>
                <a:gd name="connsiteY82" fmla="*/ 125768 h 420659"/>
                <a:gd name="connsiteX83" fmla="*/ 3247698 w 3817880"/>
                <a:gd name="connsiteY83" fmla="*/ 108729 h 420659"/>
                <a:gd name="connsiteX84" fmla="*/ 3274854 w 3817880"/>
                <a:gd name="connsiteY84" fmla="*/ 111923 h 420659"/>
                <a:gd name="connsiteX85" fmla="*/ 3299880 w 3817880"/>
                <a:gd name="connsiteY85" fmla="*/ 119378 h 420659"/>
                <a:gd name="connsiteX86" fmla="*/ 3299880 w 3817880"/>
                <a:gd name="connsiteY86" fmla="*/ 119378 h 420659"/>
                <a:gd name="connsiteX87" fmla="*/ 3389870 w 3817880"/>
                <a:gd name="connsiteY87" fmla="*/ 112988 h 420659"/>
                <a:gd name="connsiteX88" fmla="*/ 3406909 w 3817880"/>
                <a:gd name="connsiteY88" fmla="*/ 112988 h 420659"/>
                <a:gd name="connsiteX89" fmla="*/ 3406909 w 3817880"/>
                <a:gd name="connsiteY89" fmla="*/ 299889 h 420659"/>
                <a:gd name="connsiteX90" fmla="*/ 3413831 w 3817880"/>
                <a:gd name="connsiteY90" fmla="*/ 307876 h 420659"/>
                <a:gd name="connsiteX91" fmla="*/ 3437261 w 3817880"/>
                <a:gd name="connsiteY91" fmla="*/ 310006 h 420659"/>
                <a:gd name="connsiteX92" fmla="*/ 3437261 w 3817880"/>
                <a:gd name="connsiteY92" fmla="*/ 325980 h 420659"/>
                <a:gd name="connsiteX93" fmla="*/ 3339284 w 3817880"/>
                <a:gd name="connsiteY93" fmla="*/ 325980 h 420659"/>
                <a:gd name="connsiteX94" fmla="*/ 3339284 w 3817880"/>
                <a:gd name="connsiteY94" fmla="*/ 310006 h 420659"/>
                <a:gd name="connsiteX95" fmla="*/ 3361648 w 3817880"/>
                <a:gd name="connsiteY95" fmla="*/ 307876 h 420659"/>
                <a:gd name="connsiteX96" fmla="*/ 3369635 w 3817880"/>
                <a:gd name="connsiteY96" fmla="*/ 299889 h 420659"/>
                <a:gd name="connsiteX97" fmla="*/ 3369635 w 3817880"/>
                <a:gd name="connsiteY97" fmla="*/ 142275 h 420659"/>
                <a:gd name="connsiteX98" fmla="*/ 3339284 w 3817880"/>
                <a:gd name="connsiteY98" fmla="*/ 142275 h 420659"/>
                <a:gd name="connsiteX99" fmla="*/ 3339284 w 3817880"/>
                <a:gd name="connsiteY99" fmla="*/ 127365 h 420659"/>
                <a:gd name="connsiteX100" fmla="*/ 3389870 w 3817880"/>
                <a:gd name="connsiteY100" fmla="*/ 112988 h 420659"/>
                <a:gd name="connsiteX101" fmla="*/ 3389870 w 3817880"/>
                <a:gd name="connsiteY101" fmla="*/ 112988 h 420659"/>
                <a:gd name="connsiteX102" fmla="*/ 3390934 w 3817880"/>
                <a:gd name="connsiteY102" fmla="*/ 15012 h 420659"/>
                <a:gd name="connsiteX103" fmla="*/ 3409039 w 3817880"/>
                <a:gd name="connsiteY103" fmla="*/ 22999 h 420659"/>
                <a:gd name="connsiteX104" fmla="*/ 3417026 w 3817880"/>
                <a:gd name="connsiteY104" fmla="*/ 41104 h 420659"/>
                <a:gd name="connsiteX105" fmla="*/ 3409039 w 3817880"/>
                <a:gd name="connsiteY105" fmla="*/ 58143 h 420659"/>
                <a:gd name="connsiteX106" fmla="*/ 3390934 w 3817880"/>
                <a:gd name="connsiteY106" fmla="*/ 66130 h 420659"/>
                <a:gd name="connsiteX107" fmla="*/ 3372830 w 3817880"/>
                <a:gd name="connsiteY107" fmla="*/ 58143 h 420659"/>
                <a:gd name="connsiteX108" fmla="*/ 3365908 w 3817880"/>
                <a:gd name="connsiteY108" fmla="*/ 41104 h 420659"/>
                <a:gd name="connsiteX109" fmla="*/ 3372830 w 3817880"/>
                <a:gd name="connsiteY109" fmla="*/ 22999 h 420659"/>
                <a:gd name="connsiteX110" fmla="*/ 3390934 w 3817880"/>
                <a:gd name="connsiteY110" fmla="*/ 15012 h 420659"/>
                <a:gd name="connsiteX111" fmla="*/ 3390934 w 3817880"/>
                <a:gd name="connsiteY111" fmla="*/ 15012 h 420659"/>
                <a:gd name="connsiteX112" fmla="*/ 3484651 w 3817880"/>
                <a:gd name="connsiteY112" fmla="*/ 140677 h 420659"/>
                <a:gd name="connsiteX113" fmla="*/ 3457494 w 3817880"/>
                <a:gd name="connsiteY113" fmla="*/ 140677 h 420659"/>
                <a:gd name="connsiteX114" fmla="*/ 3457494 w 3817880"/>
                <a:gd name="connsiteY114" fmla="*/ 127365 h 420659"/>
                <a:gd name="connsiteX115" fmla="*/ 3485716 w 3817880"/>
                <a:gd name="connsiteY115" fmla="*/ 114053 h 420659"/>
                <a:gd name="connsiteX116" fmla="*/ 3504885 w 3817880"/>
                <a:gd name="connsiteY116" fmla="*/ 73585 h 420659"/>
                <a:gd name="connsiteX117" fmla="*/ 3521924 w 3817880"/>
                <a:gd name="connsiteY117" fmla="*/ 73585 h 420659"/>
                <a:gd name="connsiteX118" fmla="*/ 3521924 w 3817880"/>
                <a:gd name="connsiteY118" fmla="*/ 120975 h 420659"/>
                <a:gd name="connsiteX119" fmla="*/ 3588484 w 3817880"/>
                <a:gd name="connsiteY119" fmla="*/ 120975 h 420659"/>
                <a:gd name="connsiteX120" fmla="*/ 3588484 w 3817880"/>
                <a:gd name="connsiteY120" fmla="*/ 141210 h 420659"/>
                <a:gd name="connsiteX121" fmla="*/ 3521924 w 3817880"/>
                <a:gd name="connsiteY121" fmla="*/ 141210 h 420659"/>
                <a:gd name="connsiteX122" fmla="*/ 3521924 w 3817880"/>
                <a:gd name="connsiteY122" fmla="*/ 256225 h 420659"/>
                <a:gd name="connsiteX123" fmla="*/ 3529912 w 3817880"/>
                <a:gd name="connsiteY123" fmla="*/ 294564 h 420659"/>
                <a:gd name="connsiteX124" fmla="*/ 3558133 w 3817880"/>
                <a:gd name="connsiteY124" fmla="*/ 304681 h 420659"/>
                <a:gd name="connsiteX125" fmla="*/ 3573043 w 3817880"/>
                <a:gd name="connsiteY125" fmla="*/ 303616 h 420659"/>
                <a:gd name="connsiteX126" fmla="*/ 3589017 w 3817880"/>
                <a:gd name="connsiteY126" fmla="*/ 301486 h 420659"/>
                <a:gd name="connsiteX127" fmla="*/ 3589017 w 3817880"/>
                <a:gd name="connsiteY127" fmla="*/ 317461 h 420659"/>
                <a:gd name="connsiteX128" fmla="*/ 3559731 w 3817880"/>
                <a:gd name="connsiteY128" fmla="*/ 325448 h 420659"/>
                <a:gd name="connsiteX129" fmla="*/ 3531509 w 3817880"/>
                <a:gd name="connsiteY129" fmla="*/ 327578 h 420659"/>
                <a:gd name="connsiteX130" fmla="*/ 3495300 w 3817880"/>
                <a:gd name="connsiteY130" fmla="*/ 317461 h 420659"/>
                <a:gd name="connsiteX131" fmla="*/ 3485184 w 3817880"/>
                <a:gd name="connsiteY131" fmla="*/ 282317 h 420659"/>
                <a:gd name="connsiteX132" fmla="*/ 3485184 w 3817880"/>
                <a:gd name="connsiteY132" fmla="*/ 140677 h 420659"/>
                <a:gd name="connsiteX133" fmla="*/ 3484651 w 3817880"/>
                <a:gd name="connsiteY133" fmla="*/ 140677 h 420659"/>
                <a:gd name="connsiteX134" fmla="*/ 3592744 w 3817880"/>
                <a:gd name="connsiteY134" fmla="*/ 114053 h 420659"/>
                <a:gd name="connsiteX135" fmla="*/ 3687526 w 3817880"/>
                <a:gd name="connsiteY135" fmla="*/ 114053 h 420659"/>
                <a:gd name="connsiteX136" fmla="*/ 3687526 w 3817880"/>
                <a:gd name="connsiteY136" fmla="*/ 131093 h 420659"/>
                <a:gd name="connsiteX137" fmla="*/ 3665162 w 3817880"/>
                <a:gd name="connsiteY137" fmla="*/ 132158 h 420659"/>
                <a:gd name="connsiteX138" fmla="*/ 3659304 w 3817880"/>
                <a:gd name="connsiteY138" fmla="*/ 140145 h 420659"/>
                <a:gd name="connsiteX139" fmla="*/ 3712020 w 3817880"/>
                <a:gd name="connsiteY139" fmla="*/ 276460 h 420659"/>
                <a:gd name="connsiteX140" fmla="*/ 3765800 w 3817880"/>
                <a:gd name="connsiteY140" fmla="*/ 140145 h 420659"/>
                <a:gd name="connsiteX141" fmla="*/ 3762606 w 3817880"/>
                <a:gd name="connsiteY141" fmla="*/ 132158 h 420659"/>
                <a:gd name="connsiteX142" fmla="*/ 3739176 w 3817880"/>
                <a:gd name="connsiteY142" fmla="*/ 131093 h 420659"/>
                <a:gd name="connsiteX143" fmla="*/ 3739176 w 3817880"/>
                <a:gd name="connsiteY143" fmla="*/ 114053 h 420659"/>
                <a:gd name="connsiteX144" fmla="*/ 3817984 w 3817880"/>
                <a:gd name="connsiteY144" fmla="*/ 114053 h 420659"/>
                <a:gd name="connsiteX145" fmla="*/ 3817984 w 3817880"/>
                <a:gd name="connsiteY145" fmla="*/ 131093 h 420659"/>
                <a:gd name="connsiteX146" fmla="*/ 3791892 w 3817880"/>
                <a:gd name="connsiteY146" fmla="*/ 134287 h 420659"/>
                <a:gd name="connsiteX147" fmla="*/ 3704033 w 3817880"/>
                <a:gd name="connsiteY147" fmla="*/ 347279 h 420659"/>
                <a:gd name="connsiteX148" fmla="*/ 3671552 w 3817880"/>
                <a:gd name="connsiteY148" fmla="*/ 403722 h 420659"/>
                <a:gd name="connsiteX149" fmla="*/ 3634278 w 3817880"/>
                <a:gd name="connsiteY149" fmla="*/ 420762 h 420659"/>
                <a:gd name="connsiteX150" fmla="*/ 3611914 w 3817880"/>
                <a:gd name="connsiteY150" fmla="*/ 413839 h 420659"/>
                <a:gd name="connsiteX151" fmla="*/ 3603926 w 3817880"/>
                <a:gd name="connsiteY151" fmla="*/ 396800 h 420659"/>
                <a:gd name="connsiteX152" fmla="*/ 3606056 w 3817880"/>
                <a:gd name="connsiteY152" fmla="*/ 384553 h 420659"/>
                <a:gd name="connsiteX153" fmla="*/ 3615108 w 3817880"/>
                <a:gd name="connsiteY153" fmla="*/ 373371 h 420659"/>
                <a:gd name="connsiteX154" fmla="*/ 3656642 w 3817880"/>
                <a:gd name="connsiteY154" fmla="*/ 389345 h 420659"/>
                <a:gd name="connsiteX155" fmla="*/ 3675811 w 3817880"/>
                <a:gd name="connsiteY155" fmla="*/ 362189 h 420659"/>
                <a:gd name="connsiteX156" fmla="*/ 3692851 w 3817880"/>
                <a:gd name="connsiteY156" fmla="*/ 323850 h 420659"/>
                <a:gd name="connsiteX157" fmla="*/ 3618304 w 3817880"/>
                <a:gd name="connsiteY157" fmla="*/ 133755 h 420659"/>
                <a:gd name="connsiteX158" fmla="*/ 3592212 w 3817880"/>
                <a:gd name="connsiteY158" fmla="*/ 131625 h 420659"/>
                <a:gd name="connsiteX159" fmla="*/ 3592212 w 3817880"/>
                <a:gd name="connsiteY159" fmla="*/ 114053 h 420659"/>
                <a:gd name="connsiteX160" fmla="*/ 2548019 w 3817880"/>
                <a:gd name="connsiteY160" fmla="*/ 114053 h 420659"/>
                <a:gd name="connsiteX161" fmla="*/ 2643865 w 3817880"/>
                <a:gd name="connsiteY161" fmla="*/ 114053 h 420659"/>
                <a:gd name="connsiteX162" fmla="*/ 2643865 w 3817880"/>
                <a:gd name="connsiteY162" fmla="*/ 131093 h 420659"/>
                <a:gd name="connsiteX163" fmla="*/ 2620436 w 3817880"/>
                <a:gd name="connsiteY163" fmla="*/ 132158 h 420659"/>
                <a:gd name="connsiteX164" fmla="*/ 2616176 w 3817880"/>
                <a:gd name="connsiteY164" fmla="*/ 140145 h 420659"/>
                <a:gd name="connsiteX165" fmla="*/ 2666762 w 3817880"/>
                <a:gd name="connsiteY165" fmla="*/ 283382 h 420659"/>
                <a:gd name="connsiteX166" fmla="*/ 2723205 w 3817880"/>
                <a:gd name="connsiteY166" fmla="*/ 140145 h 420659"/>
                <a:gd name="connsiteX167" fmla="*/ 2720010 w 3817880"/>
                <a:gd name="connsiteY167" fmla="*/ 132158 h 420659"/>
                <a:gd name="connsiteX168" fmla="*/ 2696581 w 3817880"/>
                <a:gd name="connsiteY168" fmla="*/ 131093 h 420659"/>
                <a:gd name="connsiteX169" fmla="*/ 2696581 w 3817880"/>
                <a:gd name="connsiteY169" fmla="*/ 114053 h 420659"/>
                <a:gd name="connsiteX170" fmla="*/ 2773258 w 3817880"/>
                <a:gd name="connsiteY170" fmla="*/ 114053 h 420659"/>
                <a:gd name="connsiteX171" fmla="*/ 2773258 w 3817880"/>
                <a:gd name="connsiteY171" fmla="*/ 131093 h 420659"/>
                <a:gd name="connsiteX172" fmla="*/ 2748231 w 3817880"/>
                <a:gd name="connsiteY172" fmla="*/ 134287 h 420659"/>
                <a:gd name="connsiteX173" fmla="*/ 2671554 w 3817880"/>
                <a:gd name="connsiteY173" fmla="*/ 325448 h 420659"/>
                <a:gd name="connsiteX174" fmla="*/ 2646528 w 3817880"/>
                <a:gd name="connsiteY174" fmla="*/ 325448 h 420659"/>
                <a:gd name="connsiteX175" fmla="*/ 2575708 w 3817880"/>
                <a:gd name="connsiteY175" fmla="*/ 132690 h 420659"/>
                <a:gd name="connsiteX176" fmla="*/ 2548552 w 3817880"/>
                <a:gd name="connsiteY176" fmla="*/ 130560 h 420659"/>
                <a:gd name="connsiteX177" fmla="*/ 2548552 w 3817880"/>
                <a:gd name="connsiteY177" fmla="*/ 114053 h 420659"/>
                <a:gd name="connsiteX178" fmla="*/ 2548019 w 3817880"/>
                <a:gd name="connsiteY178" fmla="*/ 114053 h 420659"/>
                <a:gd name="connsiteX179" fmla="*/ 2873364 w 3817880"/>
                <a:gd name="connsiteY179" fmla="*/ 110326 h 420659"/>
                <a:gd name="connsiteX180" fmla="*/ 2873364 w 3817880"/>
                <a:gd name="connsiteY180" fmla="*/ 129495 h 420659"/>
                <a:gd name="connsiteX181" fmla="*/ 2839818 w 3817880"/>
                <a:gd name="connsiteY181" fmla="*/ 147599 h 420659"/>
                <a:gd name="connsiteX182" fmla="*/ 2822779 w 3817880"/>
                <a:gd name="connsiteY182" fmla="*/ 191263 h 420659"/>
                <a:gd name="connsiteX183" fmla="*/ 2873364 w 3817880"/>
                <a:gd name="connsiteY183" fmla="*/ 191263 h 420659"/>
                <a:gd name="connsiteX184" fmla="*/ 2873364 w 3817880"/>
                <a:gd name="connsiteY184" fmla="*/ 209367 h 420659"/>
                <a:gd name="connsiteX185" fmla="*/ 2820649 w 3817880"/>
                <a:gd name="connsiteY185" fmla="*/ 209367 h 420659"/>
                <a:gd name="connsiteX186" fmla="*/ 2820649 w 3817880"/>
                <a:gd name="connsiteY186" fmla="*/ 215224 h 420659"/>
                <a:gd name="connsiteX187" fmla="*/ 2839818 w 3817880"/>
                <a:gd name="connsiteY187" fmla="*/ 280719 h 420659"/>
                <a:gd name="connsiteX188" fmla="*/ 2873364 w 3817880"/>
                <a:gd name="connsiteY188" fmla="*/ 302019 h 420659"/>
                <a:gd name="connsiteX189" fmla="*/ 2873364 w 3817880"/>
                <a:gd name="connsiteY189" fmla="*/ 329175 h 420659"/>
                <a:gd name="connsiteX190" fmla="*/ 2808934 w 3817880"/>
                <a:gd name="connsiteY190" fmla="*/ 299889 h 420659"/>
                <a:gd name="connsiteX191" fmla="*/ 2781778 w 3817880"/>
                <a:gd name="connsiteY191" fmla="*/ 221082 h 420659"/>
                <a:gd name="connsiteX192" fmla="*/ 2809999 w 3817880"/>
                <a:gd name="connsiteY192" fmla="*/ 141210 h 420659"/>
                <a:gd name="connsiteX193" fmla="*/ 2873364 w 3817880"/>
                <a:gd name="connsiteY193" fmla="*/ 110326 h 420659"/>
                <a:gd name="connsiteX194" fmla="*/ 2873364 w 3817880"/>
                <a:gd name="connsiteY194" fmla="*/ 110326 h 420659"/>
                <a:gd name="connsiteX195" fmla="*/ 1632686 w 3817880"/>
                <a:gd name="connsiteY195" fmla="*/ 323318 h 420659"/>
                <a:gd name="connsiteX196" fmla="*/ 1632686 w 3817880"/>
                <a:gd name="connsiteY196" fmla="*/ 304149 h 420659"/>
                <a:gd name="connsiteX197" fmla="*/ 1647063 w 3817880"/>
                <a:gd name="connsiteY197" fmla="*/ 299889 h 420659"/>
                <a:gd name="connsiteX198" fmla="*/ 1677414 w 3817880"/>
                <a:gd name="connsiteY198" fmla="*/ 285512 h 420659"/>
                <a:gd name="connsiteX199" fmla="*/ 1677414 w 3817880"/>
                <a:gd name="connsiteY199" fmla="*/ 207237 h 420659"/>
                <a:gd name="connsiteX200" fmla="*/ 1632153 w 3817880"/>
                <a:gd name="connsiteY200" fmla="*/ 222147 h 420659"/>
                <a:gd name="connsiteX201" fmla="*/ 1632153 w 3817880"/>
                <a:gd name="connsiteY201" fmla="*/ 204042 h 420659"/>
                <a:gd name="connsiteX202" fmla="*/ 1677414 w 3817880"/>
                <a:gd name="connsiteY202" fmla="*/ 192860 h 420659"/>
                <a:gd name="connsiteX203" fmla="*/ 1677414 w 3817880"/>
                <a:gd name="connsiteY203" fmla="*/ 178483 h 420659"/>
                <a:gd name="connsiteX204" fmla="*/ 1668362 w 3817880"/>
                <a:gd name="connsiteY204" fmla="*/ 140145 h 420659"/>
                <a:gd name="connsiteX205" fmla="*/ 1636946 w 3817880"/>
                <a:gd name="connsiteY205" fmla="*/ 130028 h 420659"/>
                <a:gd name="connsiteX206" fmla="*/ 1632686 w 3817880"/>
                <a:gd name="connsiteY206" fmla="*/ 130028 h 420659"/>
                <a:gd name="connsiteX207" fmla="*/ 1632686 w 3817880"/>
                <a:gd name="connsiteY207" fmla="*/ 110858 h 420659"/>
                <a:gd name="connsiteX208" fmla="*/ 1648660 w 3817880"/>
                <a:gd name="connsiteY208" fmla="*/ 109794 h 420659"/>
                <a:gd name="connsiteX209" fmla="*/ 1699246 w 3817880"/>
                <a:gd name="connsiteY209" fmla="*/ 125768 h 420659"/>
                <a:gd name="connsiteX210" fmla="*/ 1715220 w 3817880"/>
                <a:gd name="connsiteY210" fmla="*/ 174223 h 420659"/>
                <a:gd name="connsiteX211" fmla="*/ 1715220 w 3817880"/>
                <a:gd name="connsiteY211" fmla="*/ 300421 h 420659"/>
                <a:gd name="connsiteX212" fmla="*/ 1722143 w 3817880"/>
                <a:gd name="connsiteY212" fmla="*/ 308408 h 420659"/>
                <a:gd name="connsiteX213" fmla="*/ 1745572 w 3817880"/>
                <a:gd name="connsiteY213" fmla="*/ 310538 h 420659"/>
                <a:gd name="connsiteX214" fmla="*/ 1745572 w 3817880"/>
                <a:gd name="connsiteY214" fmla="*/ 326513 h 420659"/>
                <a:gd name="connsiteX215" fmla="*/ 1683804 w 3817880"/>
                <a:gd name="connsiteY215" fmla="*/ 326513 h 420659"/>
                <a:gd name="connsiteX216" fmla="*/ 1677947 w 3817880"/>
                <a:gd name="connsiteY216" fmla="*/ 300421 h 420659"/>
                <a:gd name="connsiteX217" fmla="*/ 1638543 w 3817880"/>
                <a:gd name="connsiteY217" fmla="*/ 321720 h 420659"/>
                <a:gd name="connsiteX218" fmla="*/ 1632686 w 3817880"/>
                <a:gd name="connsiteY218" fmla="*/ 323318 h 420659"/>
                <a:gd name="connsiteX219" fmla="*/ 1632686 w 3817880"/>
                <a:gd name="connsiteY219" fmla="*/ 323318 h 420659"/>
                <a:gd name="connsiteX220" fmla="*/ 2494771 w 3817880"/>
                <a:gd name="connsiteY220" fmla="*/ 15012 h 420659"/>
                <a:gd name="connsiteX221" fmla="*/ 2512875 w 3817880"/>
                <a:gd name="connsiteY221" fmla="*/ 22999 h 420659"/>
                <a:gd name="connsiteX222" fmla="*/ 2520862 w 3817880"/>
                <a:gd name="connsiteY222" fmla="*/ 41104 h 420659"/>
                <a:gd name="connsiteX223" fmla="*/ 2512875 w 3817880"/>
                <a:gd name="connsiteY223" fmla="*/ 58143 h 420659"/>
                <a:gd name="connsiteX224" fmla="*/ 2494771 w 3817880"/>
                <a:gd name="connsiteY224" fmla="*/ 66130 h 420659"/>
                <a:gd name="connsiteX225" fmla="*/ 2477731 w 3817880"/>
                <a:gd name="connsiteY225" fmla="*/ 58143 h 420659"/>
                <a:gd name="connsiteX226" fmla="*/ 2469744 w 3817880"/>
                <a:gd name="connsiteY226" fmla="*/ 41104 h 420659"/>
                <a:gd name="connsiteX227" fmla="*/ 2477731 w 3817880"/>
                <a:gd name="connsiteY227" fmla="*/ 22999 h 420659"/>
                <a:gd name="connsiteX228" fmla="*/ 2494771 w 3817880"/>
                <a:gd name="connsiteY228" fmla="*/ 15012 h 420659"/>
                <a:gd name="connsiteX229" fmla="*/ 2494771 w 3817880"/>
                <a:gd name="connsiteY229" fmla="*/ 15012 h 420659"/>
                <a:gd name="connsiteX230" fmla="*/ 2493706 w 3817880"/>
                <a:gd name="connsiteY230" fmla="*/ 112988 h 420659"/>
                <a:gd name="connsiteX231" fmla="*/ 2510745 w 3817880"/>
                <a:gd name="connsiteY231" fmla="*/ 112988 h 420659"/>
                <a:gd name="connsiteX232" fmla="*/ 2510745 w 3817880"/>
                <a:gd name="connsiteY232" fmla="*/ 299889 h 420659"/>
                <a:gd name="connsiteX233" fmla="*/ 2518732 w 3817880"/>
                <a:gd name="connsiteY233" fmla="*/ 307876 h 420659"/>
                <a:gd name="connsiteX234" fmla="*/ 2542162 w 3817880"/>
                <a:gd name="connsiteY234" fmla="*/ 310006 h 420659"/>
                <a:gd name="connsiteX235" fmla="*/ 2542162 w 3817880"/>
                <a:gd name="connsiteY235" fmla="*/ 325980 h 420659"/>
                <a:gd name="connsiteX236" fmla="*/ 2443120 w 3817880"/>
                <a:gd name="connsiteY236" fmla="*/ 325980 h 420659"/>
                <a:gd name="connsiteX237" fmla="*/ 2443120 w 3817880"/>
                <a:gd name="connsiteY237" fmla="*/ 310006 h 420659"/>
                <a:gd name="connsiteX238" fmla="*/ 2466549 w 3817880"/>
                <a:gd name="connsiteY238" fmla="*/ 307876 h 420659"/>
                <a:gd name="connsiteX239" fmla="*/ 2473472 w 3817880"/>
                <a:gd name="connsiteY239" fmla="*/ 299889 h 420659"/>
                <a:gd name="connsiteX240" fmla="*/ 2473472 w 3817880"/>
                <a:gd name="connsiteY240" fmla="*/ 142275 h 420659"/>
                <a:gd name="connsiteX241" fmla="*/ 2443120 w 3817880"/>
                <a:gd name="connsiteY241" fmla="*/ 142275 h 420659"/>
                <a:gd name="connsiteX242" fmla="*/ 2443120 w 3817880"/>
                <a:gd name="connsiteY242" fmla="*/ 127365 h 420659"/>
                <a:gd name="connsiteX243" fmla="*/ 2493706 w 3817880"/>
                <a:gd name="connsiteY243" fmla="*/ 112988 h 420659"/>
                <a:gd name="connsiteX244" fmla="*/ 2493706 w 3817880"/>
                <a:gd name="connsiteY244" fmla="*/ 112988 h 420659"/>
                <a:gd name="connsiteX245" fmla="*/ 2191790 w 3817880"/>
                <a:gd name="connsiteY245" fmla="*/ 325448 h 420659"/>
                <a:gd name="connsiteX246" fmla="*/ 2191790 w 3817880"/>
                <a:gd name="connsiteY246" fmla="*/ 309473 h 420659"/>
                <a:gd name="connsiteX247" fmla="*/ 2215219 w 3817880"/>
                <a:gd name="connsiteY247" fmla="*/ 307343 h 420659"/>
                <a:gd name="connsiteX248" fmla="*/ 2223206 w 3817880"/>
                <a:gd name="connsiteY248" fmla="*/ 299356 h 420659"/>
                <a:gd name="connsiteX249" fmla="*/ 2223206 w 3817880"/>
                <a:gd name="connsiteY249" fmla="*/ 141742 h 420659"/>
                <a:gd name="connsiteX250" fmla="*/ 2191790 w 3817880"/>
                <a:gd name="connsiteY250" fmla="*/ 141742 h 420659"/>
                <a:gd name="connsiteX251" fmla="*/ 2191790 w 3817880"/>
                <a:gd name="connsiteY251" fmla="*/ 127365 h 420659"/>
                <a:gd name="connsiteX252" fmla="*/ 2242376 w 3817880"/>
                <a:gd name="connsiteY252" fmla="*/ 112456 h 420659"/>
                <a:gd name="connsiteX253" fmla="*/ 2259415 w 3817880"/>
                <a:gd name="connsiteY253" fmla="*/ 112456 h 420659"/>
                <a:gd name="connsiteX254" fmla="*/ 2259415 w 3817880"/>
                <a:gd name="connsiteY254" fmla="*/ 135885 h 420659"/>
                <a:gd name="connsiteX255" fmla="*/ 2302013 w 3817880"/>
                <a:gd name="connsiteY255" fmla="*/ 115651 h 420659"/>
                <a:gd name="connsiteX256" fmla="*/ 2330235 w 3817880"/>
                <a:gd name="connsiteY256" fmla="*/ 108729 h 420659"/>
                <a:gd name="connsiteX257" fmla="*/ 2373898 w 3817880"/>
                <a:gd name="connsiteY257" fmla="*/ 126833 h 420659"/>
                <a:gd name="connsiteX258" fmla="*/ 2388275 w 3817880"/>
                <a:gd name="connsiteY258" fmla="*/ 176354 h 420659"/>
                <a:gd name="connsiteX259" fmla="*/ 2388275 w 3817880"/>
                <a:gd name="connsiteY259" fmla="*/ 298824 h 420659"/>
                <a:gd name="connsiteX260" fmla="*/ 2396262 w 3817880"/>
                <a:gd name="connsiteY260" fmla="*/ 306811 h 420659"/>
                <a:gd name="connsiteX261" fmla="*/ 2419691 w 3817880"/>
                <a:gd name="connsiteY261" fmla="*/ 308941 h 420659"/>
                <a:gd name="connsiteX262" fmla="*/ 2419691 w 3817880"/>
                <a:gd name="connsiteY262" fmla="*/ 324915 h 420659"/>
                <a:gd name="connsiteX263" fmla="*/ 2323845 w 3817880"/>
                <a:gd name="connsiteY263" fmla="*/ 324915 h 420659"/>
                <a:gd name="connsiteX264" fmla="*/ 2323845 w 3817880"/>
                <a:gd name="connsiteY264" fmla="*/ 308941 h 420659"/>
                <a:gd name="connsiteX265" fmla="*/ 2344079 w 3817880"/>
                <a:gd name="connsiteY265" fmla="*/ 306811 h 420659"/>
                <a:gd name="connsiteX266" fmla="*/ 2352066 w 3817880"/>
                <a:gd name="connsiteY266" fmla="*/ 298824 h 420659"/>
                <a:gd name="connsiteX267" fmla="*/ 2352066 w 3817880"/>
                <a:gd name="connsiteY267" fmla="*/ 182743 h 420659"/>
                <a:gd name="connsiteX268" fmla="*/ 2341949 w 3817880"/>
                <a:gd name="connsiteY268" fmla="*/ 147599 h 420659"/>
                <a:gd name="connsiteX269" fmla="*/ 2308403 w 3817880"/>
                <a:gd name="connsiteY269" fmla="*/ 137482 h 420659"/>
                <a:gd name="connsiteX270" fmla="*/ 2284974 w 3817880"/>
                <a:gd name="connsiteY270" fmla="*/ 140677 h 420659"/>
                <a:gd name="connsiteX271" fmla="*/ 2258882 w 3817880"/>
                <a:gd name="connsiteY271" fmla="*/ 151859 h 420659"/>
                <a:gd name="connsiteX272" fmla="*/ 2258882 w 3817880"/>
                <a:gd name="connsiteY272" fmla="*/ 298291 h 420659"/>
                <a:gd name="connsiteX273" fmla="*/ 2266870 w 3817880"/>
                <a:gd name="connsiteY273" fmla="*/ 306279 h 420659"/>
                <a:gd name="connsiteX274" fmla="*/ 2287104 w 3817880"/>
                <a:gd name="connsiteY274" fmla="*/ 308408 h 420659"/>
                <a:gd name="connsiteX275" fmla="*/ 2287104 w 3817880"/>
                <a:gd name="connsiteY275" fmla="*/ 324383 h 420659"/>
                <a:gd name="connsiteX276" fmla="*/ 2191790 w 3817880"/>
                <a:gd name="connsiteY276" fmla="*/ 324383 h 420659"/>
                <a:gd name="connsiteX277" fmla="*/ 2191790 w 3817880"/>
                <a:gd name="connsiteY277" fmla="*/ 325448 h 420659"/>
                <a:gd name="connsiteX278" fmla="*/ 1885614 w 3817880"/>
                <a:gd name="connsiteY278" fmla="*/ 31519 h 420659"/>
                <a:gd name="connsiteX279" fmla="*/ 1992642 w 3817880"/>
                <a:gd name="connsiteY279" fmla="*/ 31519 h 420659"/>
                <a:gd name="connsiteX280" fmla="*/ 1992642 w 3817880"/>
                <a:gd name="connsiteY280" fmla="*/ 48558 h 420659"/>
                <a:gd name="connsiteX281" fmla="*/ 1965486 w 3817880"/>
                <a:gd name="connsiteY281" fmla="*/ 50688 h 420659"/>
                <a:gd name="connsiteX282" fmla="*/ 1958563 w 3817880"/>
                <a:gd name="connsiteY282" fmla="*/ 57610 h 420659"/>
                <a:gd name="connsiteX283" fmla="*/ 1958563 w 3817880"/>
                <a:gd name="connsiteY283" fmla="*/ 216289 h 420659"/>
                <a:gd name="connsiteX284" fmla="*/ 1976668 w 3817880"/>
                <a:gd name="connsiteY284" fmla="*/ 282849 h 420659"/>
                <a:gd name="connsiteX285" fmla="*/ 2036306 w 3817880"/>
                <a:gd name="connsiteY285" fmla="*/ 303084 h 420659"/>
                <a:gd name="connsiteX286" fmla="*/ 2095944 w 3817880"/>
                <a:gd name="connsiteY286" fmla="*/ 282849 h 420659"/>
                <a:gd name="connsiteX287" fmla="*/ 2114048 w 3817880"/>
                <a:gd name="connsiteY287" fmla="*/ 216289 h 420659"/>
                <a:gd name="connsiteX288" fmla="*/ 2114048 w 3817880"/>
                <a:gd name="connsiteY288" fmla="*/ 60805 h 420659"/>
                <a:gd name="connsiteX289" fmla="*/ 2106061 w 3817880"/>
                <a:gd name="connsiteY289" fmla="*/ 52818 h 420659"/>
                <a:gd name="connsiteX290" fmla="*/ 2078904 w 3817880"/>
                <a:gd name="connsiteY290" fmla="*/ 48558 h 420659"/>
                <a:gd name="connsiteX291" fmla="*/ 2078904 w 3817880"/>
                <a:gd name="connsiteY291" fmla="*/ 31519 h 420659"/>
                <a:gd name="connsiteX292" fmla="*/ 2172088 w 3817880"/>
                <a:gd name="connsiteY292" fmla="*/ 31519 h 420659"/>
                <a:gd name="connsiteX293" fmla="*/ 2172088 w 3817880"/>
                <a:gd name="connsiteY293" fmla="*/ 48558 h 420659"/>
                <a:gd name="connsiteX294" fmla="*/ 2144932 w 3817880"/>
                <a:gd name="connsiteY294" fmla="*/ 52818 h 420659"/>
                <a:gd name="connsiteX295" fmla="*/ 2136944 w 3817880"/>
                <a:gd name="connsiteY295" fmla="*/ 60805 h 420659"/>
                <a:gd name="connsiteX296" fmla="*/ 2136944 w 3817880"/>
                <a:gd name="connsiteY296" fmla="*/ 219484 h 420659"/>
                <a:gd name="connsiteX297" fmla="*/ 2132685 w 3817880"/>
                <a:gd name="connsiteY297" fmla="*/ 267940 h 420659"/>
                <a:gd name="connsiteX298" fmla="*/ 2118308 w 3817880"/>
                <a:gd name="connsiteY298" fmla="*/ 297226 h 420659"/>
                <a:gd name="connsiteX299" fmla="*/ 2081034 w 3817880"/>
                <a:gd name="connsiteY299" fmla="*/ 320655 h 420659"/>
                <a:gd name="connsiteX300" fmla="*/ 2028319 w 3817880"/>
                <a:gd name="connsiteY300" fmla="*/ 329708 h 420659"/>
                <a:gd name="connsiteX301" fmla="*/ 1974538 w 3817880"/>
                <a:gd name="connsiteY301" fmla="*/ 320655 h 420659"/>
                <a:gd name="connsiteX302" fmla="*/ 1937264 w 3817880"/>
                <a:gd name="connsiteY302" fmla="*/ 297226 h 420659"/>
                <a:gd name="connsiteX303" fmla="*/ 1922888 w 3817880"/>
                <a:gd name="connsiteY303" fmla="*/ 267940 h 420659"/>
                <a:gd name="connsiteX304" fmla="*/ 1918627 w 3817880"/>
                <a:gd name="connsiteY304" fmla="*/ 219484 h 420659"/>
                <a:gd name="connsiteX305" fmla="*/ 1918627 w 3817880"/>
                <a:gd name="connsiteY305" fmla="*/ 57610 h 420659"/>
                <a:gd name="connsiteX306" fmla="*/ 1910640 w 3817880"/>
                <a:gd name="connsiteY306" fmla="*/ 50688 h 420659"/>
                <a:gd name="connsiteX307" fmla="*/ 1885614 w 3817880"/>
                <a:gd name="connsiteY307" fmla="*/ 48558 h 420659"/>
                <a:gd name="connsiteX308" fmla="*/ 1885614 w 3817880"/>
                <a:gd name="connsiteY308" fmla="*/ 31519 h 420659"/>
                <a:gd name="connsiteX309" fmla="*/ 1632686 w 3817880"/>
                <a:gd name="connsiteY309" fmla="*/ 110326 h 420659"/>
                <a:gd name="connsiteX310" fmla="*/ 1632686 w 3817880"/>
                <a:gd name="connsiteY310" fmla="*/ 129495 h 420659"/>
                <a:gd name="connsiteX311" fmla="*/ 1621504 w 3817880"/>
                <a:gd name="connsiteY311" fmla="*/ 130560 h 420659"/>
                <a:gd name="connsiteX312" fmla="*/ 1604464 w 3817880"/>
                <a:gd name="connsiteY312" fmla="*/ 136418 h 420659"/>
                <a:gd name="connsiteX313" fmla="*/ 1604464 w 3817880"/>
                <a:gd name="connsiteY313" fmla="*/ 173691 h 420659"/>
                <a:gd name="connsiteX314" fmla="*/ 1574113 w 3817880"/>
                <a:gd name="connsiteY314" fmla="*/ 173691 h 420659"/>
                <a:gd name="connsiteX315" fmla="*/ 1562931 w 3817880"/>
                <a:gd name="connsiteY315" fmla="*/ 170496 h 420659"/>
                <a:gd name="connsiteX316" fmla="*/ 1560801 w 3817880"/>
                <a:gd name="connsiteY316" fmla="*/ 160379 h 420659"/>
                <a:gd name="connsiteX317" fmla="*/ 1584230 w 3817880"/>
                <a:gd name="connsiteY317" fmla="*/ 124170 h 420659"/>
                <a:gd name="connsiteX318" fmla="*/ 1632686 w 3817880"/>
                <a:gd name="connsiteY318" fmla="*/ 110326 h 420659"/>
                <a:gd name="connsiteX319" fmla="*/ 1632686 w 3817880"/>
                <a:gd name="connsiteY319" fmla="*/ 110326 h 420659"/>
                <a:gd name="connsiteX320" fmla="*/ 1632686 w 3817880"/>
                <a:gd name="connsiteY320" fmla="*/ 204042 h 420659"/>
                <a:gd name="connsiteX321" fmla="*/ 1632686 w 3817880"/>
                <a:gd name="connsiteY321" fmla="*/ 222147 h 420659"/>
                <a:gd name="connsiteX322" fmla="*/ 1605529 w 3817880"/>
                <a:gd name="connsiteY322" fmla="*/ 235459 h 420659"/>
                <a:gd name="connsiteX323" fmla="*/ 1587425 w 3817880"/>
                <a:gd name="connsiteY323" fmla="*/ 269005 h 420659"/>
                <a:gd name="connsiteX324" fmla="*/ 1597542 w 3817880"/>
                <a:gd name="connsiteY324" fmla="*/ 295096 h 420659"/>
                <a:gd name="connsiteX325" fmla="*/ 1623634 w 3817880"/>
                <a:gd name="connsiteY325" fmla="*/ 304149 h 420659"/>
                <a:gd name="connsiteX326" fmla="*/ 1632686 w 3817880"/>
                <a:gd name="connsiteY326" fmla="*/ 304149 h 420659"/>
                <a:gd name="connsiteX327" fmla="*/ 1632686 w 3817880"/>
                <a:gd name="connsiteY327" fmla="*/ 323318 h 420659"/>
                <a:gd name="connsiteX328" fmla="*/ 1605529 w 3817880"/>
                <a:gd name="connsiteY328" fmla="*/ 327578 h 420659"/>
                <a:gd name="connsiteX329" fmla="*/ 1565061 w 3817880"/>
                <a:gd name="connsiteY329" fmla="*/ 313201 h 420659"/>
                <a:gd name="connsiteX330" fmla="*/ 1549087 w 3817880"/>
                <a:gd name="connsiteY330" fmla="*/ 272732 h 420659"/>
                <a:gd name="connsiteX331" fmla="*/ 1572516 w 3817880"/>
                <a:gd name="connsiteY331" fmla="*/ 227471 h 420659"/>
                <a:gd name="connsiteX332" fmla="*/ 1632686 w 3817880"/>
                <a:gd name="connsiteY332" fmla="*/ 204042 h 420659"/>
                <a:gd name="connsiteX333" fmla="*/ 1632686 w 3817880"/>
                <a:gd name="connsiteY333" fmla="*/ 204042 h 420659"/>
                <a:gd name="connsiteX334" fmla="*/ 913306 w 3817880"/>
                <a:gd name="connsiteY334" fmla="*/ 420229 h 420659"/>
                <a:gd name="connsiteX335" fmla="*/ 913306 w 3817880"/>
                <a:gd name="connsiteY335" fmla="*/ 401060 h 420659"/>
                <a:gd name="connsiteX336" fmla="*/ 917565 w 3817880"/>
                <a:gd name="connsiteY336" fmla="*/ 401060 h 420659"/>
                <a:gd name="connsiteX337" fmla="*/ 963891 w 3817880"/>
                <a:gd name="connsiteY337" fmla="*/ 387748 h 420659"/>
                <a:gd name="connsiteX338" fmla="*/ 983061 w 3817880"/>
                <a:gd name="connsiteY338" fmla="*/ 354202 h 420659"/>
                <a:gd name="connsiteX339" fmla="*/ 975073 w 3817880"/>
                <a:gd name="connsiteY339" fmla="*/ 332903 h 420659"/>
                <a:gd name="connsiteX340" fmla="*/ 937800 w 3817880"/>
                <a:gd name="connsiteY340" fmla="*/ 320655 h 420659"/>
                <a:gd name="connsiteX341" fmla="*/ 912773 w 3817880"/>
                <a:gd name="connsiteY341" fmla="*/ 316396 h 420659"/>
                <a:gd name="connsiteX342" fmla="*/ 912773 w 3817880"/>
                <a:gd name="connsiteY342" fmla="*/ 284979 h 420659"/>
                <a:gd name="connsiteX343" fmla="*/ 940995 w 3817880"/>
                <a:gd name="connsiteY343" fmla="*/ 289239 h 420659"/>
                <a:gd name="connsiteX344" fmla="*/ 998502 w 3817880"/>
                <a:gd name="connsiteY344" fmla="*/ 308408 h 420659"/>
                <a:gd name="connsiteX345" fmla="*/ 1015542 w 3817880"/>
                <a:gd name="connsiteY345" fmla="*/ 343552 h 420659"/>
                <a:gd name="connsiteX346" fmla="*/ 1008620 w 3817880"/>
                <a:gd name="connsiteY346" fmla="*/ 369644 h 420659"/>
                <a:gd name="connsiteX347" fmla="*/ 988385 w 3817880"/>
                <a:gd name="connsiteY347" fmla="*/ 393073 h 420659"/>
                <a:gd name="connsiteX348" fmla="*/ 948982 w 3817880"/>
                <a:gd name="connsiteY348" fmla="*/ 414372 h 420659"/>
                <a:gd name="connsiteX349" fmla="*/ 913306 w 3817880"/>
                <a:gd name="connsiteY349" fmla="*/ 420229 h 420659"/>
                <a:gd name="connsiteX350" fmla="*/ 913306 w 3817880"/>
                <a:gd name="connsiteY350" fmla="*/ 420229 h 420659"/>
                <a:gd name="connsiteX351" fmla="*/ 913306 w 3817880"/>
                <a:gd name="connsiteY351" fmla="*/ 252498 h 420659"/>
                <a:gd name="connsiteX352" fmla="*/ 913306 w 3817880"/>
                <a:gd name="connsiteY352" fmla="*/ 234394 h 420659"/>
                <a:gd name="connsiteX353" fmla="*/ 913306 w 3817880"/>
                <a:gd name="connsiteY353" fmla="*/ 234394 h 420659"/>
                <a:gd name="connsiteX354" fmla="*/ 944722 w 3817880"/>
                <a:gd name="connsiteY354" fmla="*/ 219484 h 420659"/>
                <a:gd name="connsiteX355" fmla="*/ 955904 w 3817880"/>
                <a:gd name="connsiteY355" fmla="*/ 181146 h 420659"/>
                <a:gd name="connsiteX356" fmla="*/ 944722 w 3817880"/>
                <a:gd name="connsiteY356" fmla="*/ 141742 h 420659"/>
                <a:gd name="connsiteX357" fmla="*/ 913306 w 3817880"/>
                <a:gd name="connsiteY357" fmla="*/ 127365 h 420659"/>
                <a:gd name="connsiteX358" fmla="*/ 913306 w 3817880"/>
                <a:gd name="connsiteY358" fmla="*/ 127365 h 420659"/>
                <a:gd name="connsiteX359" fmla="*/ 913306 w 3817880"/>
                <a:gd name="connsiteY359" fmla="*/ 110326 h 420659"/>
                <a:gd name="connsiteX360" fmla="*/ 917565 w 3817880"/>
                <a:gd name="connsiteY360" fmla="*/ 109261 h 420659"/>
                <a:gd name="connsiteX361" fmla="*/ 942592 w 3817880"/>
                <a:gd name="connsiteY361" fmla="*/ 112456 h 420659"/>
                <a:gd name="connsiteX362" fmla="*/ 967619 w 3817880"/>
                <a:gd name="connsiteY362" fmla="*/ 122573 h 420659"/>
                <a:gd name="connsiteX363" fmla="*/ 1030451 w 3817880"/>
                <a:gd name="connsiteY363" fmla="*/ 122573 h 420659"/>
                <a:gd name="connsiteX364" fmla="*/ 1030451 w 3817880"/>
                <a:gd name="connsiteY364" fmla="*/ 142807 h 420659"/>
                <a:gd name="connsiteX365" fmla="*/ 981996 w 3817880"/>
                <a:gd name="connsiteY365" fmla="*/ 142807 h 420659"/>
                <a:gd name="connsiteX366" fmla="*/ 991048 w 3817880"/>
                <a:gd name="connsiteY366" fmla="*/ 161976 h 420659"/>
                <a:gd name="connsiteX367" fmla="*/ 994243 w 3817880"/>
                <a:gd name="connsiteY367" fmla="*/ 183276 h 420659"/>
                <a:gd name="connsiteX368" fmla="*/ 970813 w 3817880"/>
                <a:gd name="connsiteY368" fmla="*/ 232796 h 420659"/>
                <a:gd name="connsiteX369" fmla="*/ 913306 w 3817880"/>
                <a:gd name="connsiteY369" fmla="*/ 252498 h 420659"/>
                <a:gd name="connsiteX370" fmla="*/ 913306 w 3817880"/>
                <a:gd name="connsiteY370" fmla="*/ 252498 h 420659"/>
                <a:gd name="connsiteX371" fmla="*/ 1344082 w 3817880"/>
                <a:gd name="connsiteY371" fmla="*/ 109261 h 420659"/>
                <a:gd name="connsiteX372" fmla="*/ 1361121 w 3817880"/>
                <a:gd name="connsiteY372" fmla="*/ 109261 h 420659"/>
                <a:gd name="connsiteX373" fmla="*/ 1361121 w 3817880"/>
                <a:gd name="connsiteY373" fmla="*/ 254628 h 420659"/>
                <a:gd name="connsiteX374" fmla="*/ 1371238 w 3817880"/>
                <a:gd name="connsiteY374" fmla="*/ 290837 h 420659"/>
                <a:gd name="connsiteX375" fmla="*/ 1402655 w 3817880"/>
                <a:gd name="connsiteY375" fmla="*/ 302019 h 420659"/>
                <a:gd name="connsiteX376" fmla="*/ 1427681 w 3817880"/>
                <a:gd name="connsiteY376" fmla="*/ 298824 h 420659"/>
                <a:gd name="connsiteX377" fmla="*/ 1453773 w 3817880"/>
                <a:gd name="connsiteY377" fmla="*/ 288707 h 420659"/>
                <a:gd name="connsiteX378" fmla="*/ 1453773 w 3817880"/>
                <a:gd name="connsiteY378" fmla="*/ 140145 h 420659"/>
                <a:gd name="connsiteX379" fmla="*/ 1422889 w 3817880"/>
                <a:gd name="connsiteY379" fmla="*/ 140145 h 420659"/>
                <a:gd name="connsiteX380" fmla="*/ 1422889 w 3817880"/>
                <a:gd name="connsiteY380" fmla="*/ 126833 h 420659"/>
                <a:gd name="connsiteX381" fmla="*/ 1473474 w 3817880"/>
                <a:gd name="connsiteY381" fmla="*/ 109794 h 420659"/>
                <a:gd name="connsiteX382" fmla="*/ 1490514 w 3817880"/>
                <a:gd name="connsiteY382" fmla="*/ 109794 h 420659"/>
                <a:gd name="connsiteX383" fmla="*/ 1490514 w 3817880"/>
                <a:gd name="connsiteY383" fmla="*/ 299889 h 420659"/>
                <a:gd name="connsiteX384" fmla="*/ 1498501 w 3817880"/>
                <a:gd name="connsiteY384" fmla="*/ 307876 h 420659"/>
                <a:gd name="connsiteX385" fmla="*/ 1518735 w 3817880"/>
                <a:gd name="connsiteY385" fmla="*/ 310006 h 420659"/>
                <a:gd name="connsiteX386" fmla="*/ 1518735 w 3817880"/>
                <a:gd name="connsiteY386" fmla="*/ 325980 h 420659"/>
                <a:gd name="connsiteX387" fmla="*/ 1453240 w 3817880"/>
                <a:gd name="connsiteY387" fmla="*/ 325980 h 420659"/>
                <a:gd name="connsiteX388" fmla="*/ 1453240 w 3817880"/>
                <a:gd name="connsiteY388" fmla="*/ 300954 h 420659"/>
                <a:gd name="connsiteX389" fmla="*/ 1415967 w 3817880"/>
                <a:gd name="connsiteY389" fmla="*/ 322253 h 420659"/>
                <a:gd name="connsiteX390" fmla="*/ 1382421 w 3817880"/>
                <a:gd name="connsiteY390" fmla="*/ 329175 h 420659"/>
                <a:gd name="connsiteX391" fmla="*/ 1339822 w 3817880"/>
                <a:gd name="connsiteY391" fmla="*/ 312136 h 420659"/>
                <a:gd name="connsiteX392" fmla="*/ 1323848 w 3817880"/>
                <a:gd name="connsiteY392" fmla="*/ 262615 h 420659"/>
                <a:gd name="connsiteX393" fmla="*/ 1323848 w 3817880"/>
                <a:gd name="connsiteY393" fmla="*/ 140145 h 420659"/>
                <a:gd name="connsiteX394" fmla="*/ 1292431 w 3817880"/>
                <a:gd name="connsiteY394" fmla="*/ 140145 h 420659"/>
                <a:gd name="connsiteX395" fmla="*/ 1292431 w 3817880"/>
                <a:gd name="connsiteY395" fmla="*/ 126833 h 420659"/>
                <a:gd name="connsiteX396" fmla="*/ 1344082 w 3817880"/>
                <a:gd name="connsiteY396" fmla="*/ 109261 h 420659"/>
                <a:gd name="connsiteX397" fmla="*/ 1344082 w 3817880"/>
                <a:gd name="connsiteY397" fmla="*/ 109261 h 420659"/>
                <a:gd name="connsiteX398" fmla="*/ 1096479 w 3817880"/>
                <a:gd name="connsiteY398" fmla="*/ 2233 h 420659"/>
                <a:gd name="connsiteX399" fmla="*/ 1113518 w 3817880"/>
                <a:gd name="connsiteY399" fmla="*/ 2233 h 420659"/>
                <a:gd name="connsiteX400" fmla="*/ 1113518 w 3817880"/>
                <a:gd name="connsiteY400" fmla="*/ 136418 h 420659"/>
                <a:gd name="connsiteX401" fmla="*/ 1155052 w 3817880"/>
                <a:gd name="connsiteY401" fmla="*/ 116183 h 420659"/>
                <a:gd name="connsiteX402" fmla="*/ 1184338 w 3817880"/>
                <a:gd name="connsiteY402" fmla="*/ 109261 h 420659"/>
                <a:gd name="connsiteX403" fmla="*/ 1228001 w 3817880"/>
                <a:gd name="connsiteY403" fmla="*/ 127365 h 420659"/>
                <a:gd name="connsiteX404" fmla="*/ 1242911 w 3817880"/>
                <a:gd name="connsiteY404" fmla="*/ 176886 h 420659"/>
                <a:gd name="connsiteX405" fmla="*/ 1242911 w 3817880"/>
                <a:gd name="connsiteY405" fmla="*/ 299356 h 420659"/>
                <a:gd name="connsiteX406" fmla="*/ 1250898 w 3817880"/>
                <a:gd name="connsiteY406" fmla="*/ 307343 h 420659"/>
                <a:gd name="connsiteX407" fmla="*/ 1273262 w 3817880"/>
                <a:gd name="connsiteY407" fmla="*/ 309473 h 420659"/>
                <a:gd name="connsiteX408" fmla="*/ 1273262 w 3817880"/>
                <a:gd name="connsiteY408" fmla="*/ 325448 h 420659"/>
                <a:gd name="connsiteX409" fmla="*/ 1178480 w 3817880"/>
                <a:gd name="connsiteY409" fmla="*/ 325448 h 420659"/>
                <a:gd name="connsiteX410" fmla="*/ 1178480 w 3817880"/>
                <a:gd name="connsiteY410" fmla="*/ 309473 h 420659"/>
                <a:gd name="connsiteX411" fmla="*/ 1198715 w 3817880"/>
                <a:gd name="connsiteY411" fmla="*/ 307343 h 420659"/>
                <a:gd name="connsiteX412" fmla="*/ 1205637 w 3817880"/>
                <a:gd name="connsiteY412" fmla="*/ 299356 h 420659"/>
                <a:gd name="connsiteX413" fmla="*/ 1205637 w 3817880"/>
                <a:gd name="connsiteY413" fmla="*/ 183276 h 420659"/>
                <a:gd name="connsiteX414" fmla="*/ 1195520 w 3817880"/>
                <a:gd name="connsiteY414" fmla="*/ 148132 h 420659"/>
                <a:gd name="connsiteX415" fmla="*/ 1161974 w 3817880"/>
                <a:gd name="connsiteY415" fmla="*/ 138015 h 420659"/>
                <a:gd name="connsiteX416" fmla="*/ 1139610 w 3817880"/>
                <a:gd name="connsiteY416" fmla="*/ 141210 h 420659"/>
                <a:gd name="connsiteX417" fmla="*/ 1113518 w 3817880"/>
                <a:gd name="connsiteY417" fmla="*/ 152392 h 420659"/>
                <a:gd name="connsiteX418" fmla="*/ 1113518 w 3817880"/>
                <a:gd name="connsiteY418" fmla="*/ 298824 h 420659"/>
                <a:gd name="connsiteX419" fmla="*/ 1121505 w 3817880"/>
                <a:gd name="connsiteY419" fmla="*/ 306811 h 420659"/>
                <a:gd name="connsiteX420" fmla="*/ 1141740 w 3817880"/>
                <a:gd name="connsiteY420" fmla="*/ 308941 h 420659"/>
                <a:gd name="connsiteX421" fmla="*/ 1141740 w 3817880"/>
                <a:gd name="connsiteY421" fmla="*/ 324915 h 420659"/>
                <a:gd name="connsiteX422" fmla="*/ 1045893 w 3817880"/>
                <a:gd name="connsiteY422" fmla="*/ 324915 h 420659"/>
                <a:gd name="connsiteX423" fmla="*/ 1045893 w 3817880"/>
                <a:gd name="connsiteY423" fmla="*/ 308941 h 420659"/>
                <a:gd name="connsiteX424" fmla="*/ 1069322 w 3817880"/>
                <a:gd name="connsiteY424" fmla="*/ 306811 h 420659"/>
                <a:gd name="connsiteX425" fmla="*/ 1076245 w 3817880"/>
                <a:gd name="connsiteY425" fmla="*/ 298824 h 420659"/>
                <a:gd name="connsiteX426" fmla="*/ 1076245 w 3817880"/>
                <a:gd name="connsiteY426" fmla="*/ 31519 h 420659"/>
                <a:gd name="connsiteX427" fmla="*/ 1042698 w 3817880"/>
                <a:gd name="connsiteY427" fmla="*/ 31519 h 420659"/>
                <a:gd name="connsiteX428" fmla="*/ 1042698 w 3817880"/>
                <a:gd name="connsiteY428" fmla="*/ 18207 h 420659"/>
                <a:gd name="connsiteX429" fmla="*/ 1096479 w 3817880"/>
                <a:gd name="connsiteY429" fmla="*/ 2233 h 420659"/>
                <a:gd name="connsiteX430" fmla="*/ 913306 w 3817880"/>
                <a:gd name="connsiteY430" fmla="*/ 110326 h 420659"/>
                <a:gd name="connsiteX431" fmla="*/ 913306 w 3817880"/>
                <a:gd name="connsiteY431" fmla="*/ 127365 h 420659"/>
                <a:gd name="connsiteX432" fmla="*/ 881889 w 3817880"/>
                <a:gd name="connsiteY432" fmla="*/ 141742 h 420659"/>
                <a:gd name="connsiteX433" fmla="*/ 870707 w 3817880"/>
                <a:gd name="connsiteY433" fmla="*/ 181146 h 420659"/>
                <a:gd name="connsiteX434" fmla="*/ 882954 w 3817880"/>
                <a:gd name="connsiteY434" fmla="*/ 219484 h 420659"/>
                <a:gd name="connsiteX435" fmla="*/ 913306 w 3817880"/>
                <a:gd name="connsiteY435" fmla="*/ 234394 h 420659"/>
                <a:gd name="connsiteX436" fmla="*/ 913306 w 3817880"/>
                <a:gd name="connsiteY436" fmla="*/ 252498 h 420659"/>
                <a:gd name="connsiteX437" fmla="*/ 910111 w 3817880"/>
                <a:gd name="connsiteY437" fmla="*/ 252498 h 420659"/>
                <a:gd name="connsiteX438" fmla="*/ 903189 w 3817880"/>
                <a:gd name="connsiteY438" fmla="*/ 252498 h 420659"/>
                <a:gd name="connsiteX439" fmla="*/ 898929 w 3817880"/>
                <a:gd name="connsiteY439" fmla="*/ 261550 h 420659"/>
                <a:gd name="connsiteX440" fmla="*/ 897864 w 3817880"/>
                <a:gd name="connsiteY440" fmla="*/ 271667 h 420659"/>
                <a:gd name="connsiteX441" fmla="*/ 898929 w 3817880"/>
                <a:gd name="connsiteY441" fmla="*/ 278590 h 420659"/>
                <a:gd name="connsiteX442" fmla="*/ 898929 w 3817880"/>
                <a:gd name="connsiteY442" fmla="*/ 281784 h 420659"/>
                <a:gd name="connsiteX443" fmla="*/ 913838 w 3817880"/>
                <a:gd name="connsiteY443" fmla="*/ 283914 h 420659"/>
                <a:gd name="connsiteX444" fmla="*/ 913838 w 3817880"/>
                <a:gd name="connsiteY444" fmla="*/ 315331 h 420659"/>
                <a:gd name="connsiteX445" fmla="*/ 896799 w 3817880"/>
                <a:gd name="connsiteY445" fmla="*/ 312136 h 420659"/>
                <a:gd name="connsiteX446" fmla="*/ 868577 w 3817880"/>
                <a:gd name="connsiteY446" fmla="*/ 329175 h 420659"/>
                <a:gd name="connsiteX447" fmla="*/ 858460 w 3817880"/>
                <a:gd name="connsiteY447" fmla="*/ 355267 h 420659"/>
                <a:gd name="connsiteX448" fmla="*/ 875500 w 3817880"/>
                <a:gd name="connsiteY448" fmla="*/ 387748 h 420659"/>
                <a:gd name="connsiteX449" fmla="*/ 913838 w 3817880"/>
                <a:gd name="connsiteY449" fmla="*/ 401060 h 420659"/>
                <a:gd name="connsiteX450" fmla="*/ 913838 w 3817880"/>
                <a:gd name="connsiteY450" fmla="*/ 420229 h 420659"/>
                <a:gd name="connsiteX451" fmla="*/ 902656 w 3817880"/>
                <a:gd name="connsiteY451" fmla="*/ 420229 h 420659"/>
                <a:gd name="connsiteX452" fmla="*/ 845148 w 3817880"/>
                <a:gd name="connsiteY452" fmla="*/ 405852 h 420659"/>
                <a:gd name="connsiteX453" fmla="*/ 823849 w 3817880"/>
                <a:gd name="connsiteY453" fmla="*/ 364319 h 420659"/>
                <a:gd name="connsiteX454" fmla="*/ 836096 w 3817880"/>
                <a:gd name="connsiteY454" fmla="*/ 329175 h 420659"/>
                <a:gd name="connsiteX455" fmla="*/ 871240 w 3817880"/>
                <a:gd name="connsiteY455" fmla="*/ 310006 h 420659"/>
                <a:gd name="connsiteX456" fmla="*/ 868045 w 3817880"/>
                <a:gd name="connsiteY456" fmla="*/ 299889 h 420659"/>
                <a:gd name="connsiteX457" fmla="*/ 866980 w 3817880"/>
                <a:gd name="connsiteY457" fmla="*/ 289772 h 420659"/>
                <a:gd name="connsiteX458" fmla="*/ 872837 w 3817880"/>
                <a:gd name="connsiteY458" fmla="*/ 271667 h 420659"/>
                <a:gd name="connsiteX459" fmla="*/ 888812 w 3817880"/>
                <a:gd name="connsiteY459" fmla="*/ 249303 h 420659"/>
                <a:gd name="connsiteX460" fmla="*/ 848343 w 3817880"/>
                <a:gd name="connsiteY460" fmla="*/ 225874 h 420659"/>
                <a:gd name="connsiteX461" fmla="*/ 833966 w 3817880"/>
                <a:gd name="connsiteY461" fmla="*/ 183276 h 420659"/>
                <a:gd name="connsiteX462" fmla="*/ 857395 w 3817880"/>
                <a:gd name="connsiteY462" fmla="*/ 130560 h 420659"/>
                <a:gd name="connsiteX463" fmla="*/ 913306 w 3817880"/>
                <a:gd name="connsiteY463" fmla="*/ 110326 h 420659"/>
                <a:gd name="connsiteX464" fmla="*/ 913306 w 3817880"/>
                <a:gd name="connsiteY464" fmla="*/ 110326 h 420659"/>
                <a:gd name="connsiteX465" fmla="*/ 569856 w 3817880"/>
                <a:gd name="connsiteY465" fmla="*/ 325448 h 420659"/>
                <a:gd name="connsiteX466" fmla="*/ 569856 w 3817880"/>
                <a:gd name="connsiteY466" fmla="*/ 309473 h 420659"/>
                <a:gd name="connsiteX467" fmla="*/ 593285 w 3817880"/>
                <a:gd name="connsiteY467" fmla="*/ 307343 h 420659"/>
                <a:gd name="connsiteX468" fmla="*/ 601272 w 3817880"/>
                <a:gd name="connsiteY468" fmla="*/ 299356 h 420659"/>
                <a:gd name="connsiteX469" fmla="*/ 601272 w 3817880"/>
                <a:gd name="connsiteY469" fmla="*/ 141742 h 420659"/>
                <a:gd name="connsiteX470" fmla="*/ 569856 w 3817880"/>
                <a:gd name="connsiteY470" fmla="*/ 141742 h 420659"/>
                <a:gd name="connsiteX471" fmla="*/ 569856 w 3817880"/>
                <a:gd name="connsiteY471" fmla="*/ 127365 h 420659"/>
                <a:gd name="connsiteX472" fmla="*/ 620442 w 3817880"/>
                <a:gd name="connsiteY472" fmla="*/ 112456 h 420659"/>
                <a:gd name="connsiteX473" fmla="*/ 637481 w 3817880"/>
                <a:gd name="connsiteY473" fmla="*/ 112456 h 420659"/>
                <a:gd name="connsiteX474" fmla="*/ 637481 w 3817880"/>
                <a:gd name="connsiteY474" fmla="*/ 135885 h 420659"/>
                <a:gd name="connsiteX475" fmla="*/ 680079 w 3817880"/>
                <a:gd name="connsiteY475" fmla="*/ 115651 h 420659"/>
                <a:gd name="connsiteX476" fmla="*/ 708301 w 3817880"/>
                <a:gd name="connsiteY476" fmla="*/ 108729 h 420659"/>
                <a:gd name="connsiteX477" fmla="*/ 751964 w 3817880"/>
                <a:gd name="connsiteY477" fmla="*/ 126833 h 420659"/>
                <a:gd name="connsiteX478" fmla="*/ 766341 w 3817880"/>
                <a:gd name="connsiteY478" fmla="*/ 176354 h 420659"/>
                <a:gd name="connsiteX479" fmla="*/ 766341 w 3817880"/>
                <a:gd name="connsiteY479" fmla="*/ 298824 h 420659"/>
                <a:gd name="connsiteX480" fmla="*/ 774328 w 3817880"/>
                <a:gd name="connsiteY480" fmla="*/ 306811 h 420659"/>
                <a:gd name="connsiteX481" fmla="*/ 797757 w 3817880"/>
                <a:gd name="connsiteY481" fmla="*/ 308941 h 420659"/>
                <a:gd name="connsiteX482" fmla="*/ 797757 w 3817880"/>
                <a:gd name="connsiteY482" fmla="*/ 324915 h 420659"/>
                <a:gd name="connsiteX483" fmla="*/ 700846 w 3817880"/>
                <a:gd name="connsiteY483" fmla="*/ 324915 h 420659"/>
                <a:gd name="connsiteX484" fmla="*/ 700846 w 3817880"/>
                <a:gd name="connsiteY484" fmla="*/ 308941 h 420659"/>
                <a:gd name="connsiteX485" fmla="*/ 722145 w 3817880"/>
                <a:gd name="connsiteY485" fmla="*/ 306811 h 420659"/>
                <a:gd name="connsiteX486" fmla="*/ 730133 w 3817880"/>
                <a:gd name="connsiteY486" fmla="*/ 298824 h 420659"/>
                <a:gd name="connsiteX487" fmla="*/ 730133 w 3817880"/>
                <a:gd name="connsiteY487" fmla="*/ 182743 h 420659"/>
                <a:gd name="connsiteX488" fmla="*/ 720015 w 3817880"/>
                <a:gd name="connsiteY488" fmla="*/ 147599 h 420659"/>
                <a:gd name="connsiteX489" fmla="*/ 684872 w 3817880"/>
                <a:gd name="connsiteY489" fmla="*/ 137482 h 420659"/>
                <a:gd name="connsiteX490" fmla="*/ 662508 w 3817880"/>
                <a:gd name="connsiteY490" fmla="*/ 140677 h 420659"/>
                <a:gd name="connsiteX491" fmla="*/ 636416 w 3817880"/>
                <a:gd name="connsiteY491" fmla="*/ 151859 h 420659"/>
                <a:gd name="connsiteX492" fmla="*/ 636416 w 3817880"/>
                <a:gd name="connsiteY492" fmla="*/ 298291 h 420659"/>
                <a:gd name="connsiteX493" fmla="*/ 644403 w 3817880"/>
                <a:gd name="connsiteY493" fmla="*/ 306279 h 420659"/>
                <a:gd name="connsiteX494" fmla="*/ 664637 w 3817880"/>
                <a:gd name="connsiteY494" fmla="*/ 308408 h 420659"/>
                <a:gd name="connsiteX495" fmla="*/ 664637 w 3817880"/>
                <a:gd name="connsiteY495" fmla="*/ 324383 h 420659"/>
                <a:gd name="connsiteX496" fmla="*/ 569856 w 3817880"/>
                <a:gd name="connsiteY496" fmla="*/ 324383 h 420659"/>
                <a:gd name="connsiteX497" fmla="*/ 569856 w 3817880"/>
                <a:gd name="connsiteY497" fmla="*/ 325448 h 420659"/>
                <a:gd name="connsiteX498" fmla="*/ 501166 w 3817880"/>
                <a:gd name="connsiteY498" fmla="*/ 15012 h 420659"/>
                <a:gd name="connsiteX499" fmla="*/ 519270 w 3817880"/>
                <a:gd name="connsiteY499" fmla="*/ 22999 h 420659"/>
                <a:gd name="connsiteX500" fmla="*/ 527258 w 3817880"/>
                <a:gd name="connsiteY500" fmla="*/ 41104 h 420659"/>
                <a:gd name="connsiteX501" fmla="*/ 519270 w 3817880"/>
                <a:gd name="connsiteY501" fmla="*/ 58143 h 420659"/>
                <a:gd name="connsiteX502" fmla="*/ 501166 w 3817880"/>
                <a:gd name="connsiteY502" fmla="*/ 66130 h 420659"/>
                <a:gd name="connsiteX503" fmla="*/ 484127 w 3817880"/>
                <a:gd name="connsiteY503" fmla="*/ 58143 h 420659"/>
                <a:gd name="connsiteX504" fmla="*/ 476140 w 3817880"/>
                <a:gd name="connsiteY504" fmla="*/ 41104 h 420659"/>
                <a:gd name="connsiteX505" fmla="*/ 484127 w 3817880"/>
                <a:gd name="connsiteY505" fmla="*/ 22999 h 420659"/>
                <a:gd name="connsiteX506" fmla="*/ 501166 w 3817880"/>
                <a:gd name="connsiteY506" fmla="*/ 15012 h 420659"/>
                <a:gd name="connsiteX507" fmla="*/ 501166 w 3817880"/>
                <a:gd name="connsiteY507" fmla="*/ 15012 h 420659"/>
                <a:gd name="connsiteX508" fmla="*/ 500101 w 3817880"/>
                <a:gd name="connsiteY508" fmla="*/ 112988 h 420659"/>
                <a:gd name="connsiteX509" fmla="*/ 517141 w 3817880"/>
                <a:gd name="connsiteY509" fmla="*/ 112988 h 420659"/>
                <a:gd name="connsiteX510" fmla="*/ 517141 w 3817880"/>
                <a:gd name="connsiteY510" fmla="*/ 299889 h 420659"/>
                <a:gd name="connsiteX511" fmla="*/ 525128 w 3817880"/>
                <a:gd name="connsiteY511" fmla="*/ 307876 h 420659"/>
                <a:gd name="connsiteX512" fmla="*/ 547492 w 3817880"/>
                <a:gd name="connsiteY512" fmla="*/ 310006 h 420659"/>
                <a:gd name="connsiteX513" fmla="*/ 547492 w 3817880"/>
                <a:gd name="connsiteY513" fmla="*/ 325980 h 420659"/>
                <a:gd name="connsiteX514" fmla="*/ 449516 w 3817880"/>
                <a:gd name="connsiteY514" fmla="*/ 325980 h 420659"/>
                <a:gd name="connsiteX515" fmla="*/ 449516 w 3817880"/>
                <a:gd name="connsiteY515" fmla="*/ 310006 h 420659"/>
                <a:gd name="connsiteX516" fmla="*/ 472945 w 3817880"/>
                <a:gd name="connsiteY516" fmla="*/ 307876 h 420659"/>
                <a:gd name="connsiteX517" fmla="*/ 479867 w 3817880"/>
                <a:gd name="connsiteY517" fmla="*/ 299889 h 420659"/>
                <a:gd name="connsiteX518" fmla="*/ 479867 w 3817880"/>
                <a:gd name="connsiteY518" fmla="*/ 142275 h 420659"/>
                <a:gd name="connsiteX519" fmla="*/ 449516 w 3817880"/>
                <a:gd name="connsiteY519" fmla="*/ 142275 h 420659"/>
                <a:gd name="connsiteX520" fmla="*/ 449516 w 3817880"/>
                <a:gd name="connsiteY520" fmla="*/ 127365 h 420659"/>
                <a:gd name="connsiteX521" fmla="*/ 500101 w 3817880"/>
                <a:gd name="connsiteY521" fmla="*/ 112988 h 420659"/>
                <a:gd name="connsiteX522" fmla="*/ 500101 w 3817880"/>
                <a:gd name="connsiteY522" fmla="*/ 112988 h 420659"/>
                <a:gd name="connsiteX523" fmla="*/ 410112 w 3817880"/>
                <a:gd name="connsiteY523" fmla="*/ 119378 h 420659"/>
                <a:gd name="connsiteX524" fmla="*/ 410112 w 3817880"/>
                <a:gd name="connsiteY524" fmla="*/ 168899 h 420659"/>
                <a:gd name="connsiteX525" fmla="*/ 388813 w 3817880"/>
                <a:gd name="connsiteY525" fmla="*/ 168899 h 420659"/>
                <a:gd name="connsiteX526" fmla="*/ 384553 w 3817880"/>
                <a:gd name="connsiteY526" fmla="*/ 138547 h 420659"/>
                <a:gd name="connsiteX527" fmla="*/ 368579 w 3817880"/>
                <a:gd name="connsiteY527" fmla="*/ 130560 h 420659"/>
                <a:gd name="connsiteX528" fmla="*/ 352604 w 3817880"/>
                <a:gd name="connsiteY528" fmla="*/ 128430 h 420659"/>
                <a:gd name="connsiteX529" fmla="*/ 325448 w 3817880"/>
                <a:gd name="connsiteY529" fmla="*/ 137482 h 420659"/>
                <a:gd name="connsiteX530" fmla="*/ 315331 w 3817880"/>
                <a:gd name="connsiteY530" fmla="*/ 159847 h 420659"/>
                <a:gd name="connsiteX531" fmla="*/ 323318 w 3817880"/>
                <a:gd name="connsiteY531" fmla="*/ 181146 h 420659"/>
                <a:gd name="connsiteX532" fmla="*/ 352604 w 3817880"/>
                <a:gd name="connsiteY532" fmla="*/ 200315 h 420659"/>
                <a:gd name="connsiteX533" fmla="*/ 363786 w 3817880"/>
                <a:gd name="connsiteY533" fmla="*/ 204575 h 420659"/>
                <a:gd name="connsiteX534" fmla="*/ 399995 w 3817880"/>
                <a:gd name="connsiteY534" fmla="*/ 224809 h 420659"/>
                <a:gd name="connsiteX535" fmla="*/ 412242 w 3817880"/>
                <a:gd name="connsiteY535" fmla="*/ 241848 h 420659"/>
                <a:gd name="connsiteX536" fmla="*/ 415437 w 3817880"/>
                <a:gd name="connsiteY536" fmla="*/ 263148 h 420659"/>
                <a:gd name="connsiteX537" fmla="*/ 394138 w 3817880"/>
                <a:gd name="connsiteY537" fmla="*/ 311603 h 420659"/>
                <a:gd name="connsiteX538" fmla="*/ 334500 w 3817880"/>
                <a:gd name="connsiteY538" fmla="*/ 328643 h 420659"/>
                <a:gd name="connsiteX539" fmla="*/ 304149 w 3817880"/>
                <a:gd name="connsiteY539" fmla="*/ 326513 h 420659"/>
                <a:gd name="connsiteX540" fmla="*/ 276992 w 3817880"/>
                <a:gd name="connsiteY540" fmla="*/ 319591 h 420659"/>
                <a:gd name="connsiteX541" fmla="*/ 276992 w 3817880"/>
                <a:gd name="connsiteY541" fmla="*/ 262083 h 420659"/>
                <a:gd name="connsiteX542" fmla="*/ 298291 w 3817880"/>
                <a:gd name="connsiteY542" fmla="*/ 262083 h 420659"/>
                <a:gd name="connsiteX543" fmla="*/ 302551 w 3817880"/>
                <a:gd name="connsiteY543" fmla="*/ 299356 h 420659"/>
                <a:gd name="connsiteX544" fmla="*/ 321720 w 3817880"/>
                <a:gd name="connsiteY544" fmla="*/ 307343 h 420659"/>
                <a:gd name="connsiteX545" fmla="*/ 340890 w 3817880"/>
                <a:gd name="connsiteY545" fmla="*/ 310538 h 420659"/>
                <a:gd name="connsiteX546" fmla="*/ 370176 w 3817880"/>
                <a:gd name="connsiteY546" fmla="*/ 300421 h 420659"/>
                <a:gd name="connsiteX547" fmla="*/ 381358 w 3817880"/>
                <a:gd name="connsiteY547" fmla="*/ 274330 h 420659"/>
                <a:gd name="connsiteX548" fmla="*/ 373371 w 3817880"/>
                <a:gd name="connsiteY548" fmla="*/ 253031 h 420659"/>
                <a:gd name="connsiteX549" fmla="*/ 336097 w 3817880"/>
                <a:gd name="connsiteY549" fmla="*/ 230666 h 420659"/>
                <a:gd name="connsiteX550" fmla="*/ 292434 w 3817880"/>
                <a:gd name="connsiteY550" fmla="*/ 203510 h 420659"/>
                <a:gd name="connsiteX551" fmla="*/ 280187 w 3817880"/>
                <a:gd name="connsiteY551" fmla="*/ 171029 h 420659"/>
                <a:gd name="connsiteX552" fmla="*/ 300421 w 3817880"/>
                <a:gd name="connsiteY552" fmla="*/ 125768 h 420659"/>
                <a:gd name="connsiteX553" fmla="*/ 357929 w 3817880"/>
                <a:gd name="connsiteY553" fmla="*/ 108729 h 420659"/>
                <a:gd name="connsiteX554" fmla="*/ 386150 w 3817880"/>
                <a:gd name="connsiteY554" fmla="*/ 111923 h 420659"/>
                <a:gd name="connsiteX555" fmla="*/ 410112 w 3817880"/>
                <a:gd name="connsiteY555" fmla="*/ 119378 h 420659"/>
                <a:gd name="connsiteX556" fmla="*/ 410112 w 3817880"/>
                <a:gd name="connsiteY556" fmla="*/ 119378 h 420659"/>
                <a:gd name="connsiteX557" fmla="*/ 3297 w 3817880"/>
                <a:gd name="connsiteY557" fmla="*/ 31519 h 420659"/>
                <a:gd name="connsiteX558" fmla="*/ 250901 w 3817880"/>
                <a:gd name="connsiteY558" fmla="*/ 31519 h 420659"/>
                <a:gd name="connsiteX559" fmla="*/ 250901 w 3817880"/>
                <a:gd name="connsiteY559" fmla="*/ 98079 h 420659"/>
                <a:gd name="connsiteX560" fmla="*/ 227471 w 3817880"/>
                <a:gd name="connsiteY560" fmla="*/ 98079 h 420659"/>
                <a:gd name="connsiteX561" fmla="*/ 221614 w 3817880"/>
                <a:gd name="connsiteY561" fmla="*/ 57610 h 420659"/>
                <a:gd name="connsiteX562" fmla="*/ 214692 w 3817880"/>
                <a:gd name="connsiteY562" fmla="*/ 50688 h 420659"/>
                <a:gd name="connsiteX563" fmla="*/ 148132 w 3817880"/>
                <a:gd name="connsiteY563" fmla="*/ 50688 h 420659"/>
                <a:gd name="connsiteX564" fmla="*/ 148132 w 3817880"/>
                <a:gd name="connsiteY564" fmla="*/ 298291 h 420659"/>
                <a:gd name="connsiteX565" fmla="*/ 155054 w 3817880"/>
                <a:gd name="connsiteY565" fmla="*/ 305214 h 420659"/>
                <a:gd name="connsiteX566" fmla="*/ 184341 w 3817880"/>
                <a:gd name="connsiteY566" fmla="*/ 307343 h 420659"/>
                <a:gd name="connsiteX567" fmla="*/ 184341 w 3817880"/>
                <a:gd name="connsiteY567" fmla="*/ 325448 h 420659"/>
                <a:gd name="connsiteX568" fmla="*/ 70390 w 3817880"/>
                <a:gd name="connsiteY568" fmla="*/ 325448 h 420659"/>
                <a:gd name="connsiteX569" fmla="*/ 70390 w 3817880"/>
                <a:gd name="connsiteY569" fmla="*/ 307343 h 420659"/>
                <a:gd name="connsiteX570" fmla="*/ 99676 w 3817880"/>
                <a:gd name="connsiteY570" fmla="*/ 305214 h 420659"/>
                <a:gd name="connsiteX571" fmla="*/ 106598 w 3817880"/>
                <a:gd name="connsiteY571" fmla="*/ 298291 h 420659"/>
                <a:gd name="connsiteX572" fmla="*/ 106598 w 3817880"/>
                <a:gd name="connsiteY572" fmla="*/ 50688 h 420659"/>
                <a:gd name="connsiteX573" fmla="*/ 40039 w 3817880"/>
                <a:gd name="connsiteY573" fmla="*/ 50688 h 420659"/>
                <a:gd name="connsiteX574" fmla="*/ 33116 w 3817880"/>
                <a:gd name="connsiteY574" fmla="*/ 57610 h 420659"/>
                <a:gd name="connsiteX575" fmla="*/ 27259 w 3817880"/>
                <a:gd name="connsiteY575" fmla="*/ 98079 h 420659"/>
                <a:gd name="connsiteX576" fmla="*/ 2233 w 3817880"/>
                <a:gd name="connsiteY576" fmla="*/ 98079 h 420659"/>
                <a:gd name="connsiteX577" fmla="*/ 2233 w 3817880"/>
                <a:gd name="connsiteY577" fmla="*/ 31519 h 42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3817880" h="420659">
                  <a:moveTo>
                    <a:pt x="2873364" y="329175"/>
                  </a:moveTo>
                  <a:lnTo>
                    <a:pt x="2873364" y="302019"/>
                  </a:lnTo>
                  <a:cubicBezTo>
                    <a:pt x="2879221" y="303084"/>
                    <a:pt x="2885611" y="304149"/>
                    <a:pt x="2893598" y="304149"/>
                  </a:cubicBezTo>
                  <a:cubicBezTo>
                    <a:pt x="2903715" y="304149"/>
                    <a:pt x="2914898" y="302019"/>
                    <a:pt x="2926080" y="298291"/>
                  </a:cubicBezTo>
                  <a:cubicBezTo>
                    <a:pt x="2937262" y="294031"/>
                    <a:pt x="2949509" y="287109"/>
                    <a:pt x="2962288" y="278057"/>
                  </a:cubicBezTo>
                  <a:lnTo>
                    <a:pt x="2962288" y="303084"/>
                  </a:lnTo>
                  <a:cubicBezTo>
                    <a:pt x="2950041" y="312136"/>
                    <a:pt x="2936197" y="317993"/>
                    <a:pt x="2921820" y="322253"/>
                  </a:cubicBezTo>
                  <a:cubicBezTo>
                    <a:pt x="2908508" y="326513"/>
                    <a:pt x="2893598" y="329175"/>
                    <a:pt x="2880286" y="329175"/>
                  </a:cubicBezTo>
                  <a:cubicBezTo>
                    <a:pt x="2877624" y="329175"/>
                    <a:pt x="2875494" y="329175"/>
                    <a:pt x="2873364" y="329175"/>
                  </a:cubicBezTo>
                  <a:lnTo>
                    <a:pt x="2873364" y="329175"/>
                  </a:lnTo>
                  <a:close/>
                  <a:moveTo>
                    <a:pt x="2873364" y="209367"/>
                  </a:moveTo>
                  <a:lnTo>
                    <a:pt x="2873364" y="191263"/>
                  </a:lnTo>
                  <a:lnTo>
                    <a:pt x="2922885" y="191263"/>
                  </a:lnTo>
                  <a:lnTo>
                    <a:pt x="2922885" y="184341"/>
                  </a:lnTo>
                  <a:cubicBezTo>
                    <a:pt x="2922885" y="166236"/>
                    <a:pt x="2919690" y="152924"/>
                    <a:pt x="2911703" y="143872"/>
                  </a:cubicBezTo>
                  <a:cubicBezTo>
                    <a:pt x="2903715" y="133755"/>
                    <a:pt x="2892533" y="128963"/>
                    <a:pt x="2878156" y="128963"/>
                  </a:cubicBezTo>
                  <a:cubicBezTo>
                    <a:pt x="2876027" y="128963"/>
                    <a:pt x="2874962" y="128963"/>
                    <a:pt x="2873897" y="128963"/>
                  </a:cubicBezTo>
                  <a:lnTo>
                    <a:pt x="2873897" y="109794"/>
                  </a:lnTo>
                  <a:cubicBezTo>
                    <a:pt x="2877091" y="109794"/>
                    <a:pt x="2880819" y="108729"/>
                    <a:pt x="2884014" y="108729"/>
                  </a:cubicBezTo>
                  <a:cubicBezTo>
                    <a:pt x="2909040" y="108729"/>
                    <a:pt x="2927677" y="116716"/>
                    <a:pt x="2941522" y="132158"/>
                  </a:cubicBezTo>
                  <a:cubicBezTo>
                    <a:pt x="2956431" y="148132"/>
                    <a:pt x="2962821" y="169431"/>
                    <a:pt x="2962821" y="194990"/>
                  </a:cubicBezTo>
                  <a:cubicBezTo>
                    <a:pt x="2962821" y="198185"/>
                    <a:pt x="2962821" y="201912"/>
                    <a:pt x="2962821" y="202978"/>
                  </a:cubicBezTo>
                  <a:cubicBezTo>
                    <a:pt x="2962821" y="205107"/>
                    <a:pt x="2962821" y="207237"/>
                    <a:pt x="2962821" y="208835"/>
                  </a:cubicBezTo>
                  <a:lnTo>
                    <a:pt x="2873364" y="208835"/>
                  </a:lnTo>
                  <a:lnTo>
                    <a:pt x="2873364" y="209367"/>
                  </a:lnTo>
                  <a:close/>
                  <a:moveTo>
                    <a:pt x="2994770" y="325448"/>
                  </a:moveTo>
                  <a:lnTo>
                    <a:pt x="2994770" y="309473"/>
                  </a:lnTo>
                  <a:lnTo>
                    <a:pt x="3017134" y="307343"/>
                  </a:lnTo>
                  <a:lnTo>
                    <a:pt x="3025121" y="299356"/>
                  </a:lnTo>
                  <a:lnTo>
                    <a:pt x="3025121" y="141742"/>
                  </a:lnTo>
                  <a:lnTo>
                    <a:pt x="2994770" y="141742"/>
                  </a:lnTo>
                  <a:lnTo>
                    <a:pt x="2994770" y="127365"/>
                  </a:lnTo>
                  <a:lnTo>
                    <a:pt x="3045355" y="112456"/>
                  </a:lnTo>
                  <a:lnTo>
                    <a:pt x="3062395" y="112456"/>
                  </a:lnTo>
                  <a:lnTo>
                    <a:pt x="3062395" y="152924"/>
                  </a:lnTo>
                  <a:cubicBezTo>
                    <a:pt x="3069317" y="146002"/>
                    <a:pt x="3077304" y="138015"/>
                    <a:pt x="3083694" y="131625"/>
                  </a:cubicBezTo>
                  <a:cubicBezTo>
                    <a:pt x="3091681" y="124703"/>
                    <a:pt x="3100733" y="116716"/>
                    <a:pt x="3108720" y="110326"/>
                  </a:cubicBezTo>
                  <a:cubicBezTo>
                    <a:pt x="3109785" y="110326"/>
                    <a:pt x="3111915" y="110326"/>
                    <a:pt x="3112980" y="110326"/>
                  </a:cubicBezTo>
                  <a:cubicBezTo>
                    <a:pt x="3114045" y="110326"/>
                    <a:pt x="3116175" y="109261"/>
                    <a:pt x="3119902" y="109261"/>
                  </a:cubicBezTo>
                  <a:cubicBezTo>
                    <a:pt x="3124162" y="109261"/>
                    <a:pt x="3128955" y="110326"/>
                    <a:pt x="3132149" y="111391"/>
                  </a:cubicBezTo>
                  <a:cubicBezTo>
                    <a:pt x="3136409" y="112456"/>
                    <a:pt x="3141202" y="113521"/>
                    <a:pt x="3145461" y="115651"/>
                  </a:cubicBezTo>
                  <a:lnTo>
                    <a:pt x="3145461" y="152924"/>
                  </a:lnTo>
                  <a:lnTo>
                    <a:pt x="3132149" y="152924"/>
                  </a:lnTo>
                  <a:cubicBezTo>
                    <a:pt x="3128955" y="149730"/>
                    <a:pt x="3125227" y="147067"/>
                    <a:pt x="3122032" y="144937"/>
                  </a:cubicBezTo>
                  <a:cubicBezTo>
                    <a:pt x="3118837" y="143872"/>
                    <a:pt x="3114045" y="142807"/>
                    <a:pt x="3109785" y="142807"/>
                  </a:cubicBezTo>
                  <a:cubicBezTo>
                    <a:pt x="3102863" y="142807"/>
                    <a:pt x="3094876" y="144937"/>
                    <a:pt x="3087421" y="150794"/>
                  </a:cubicBezTo>
                  <a:cubicBezTo>
                    <a:pt x="3079434" y="155054"/>
                    <a:pt x="3071446" y="163042"/>
                    <a:pt x="3062395" y="174223"/>
                  </a:cubicBezTo>
                  <a:lnTo>
                    <a:pt x="3062395" y="299356"/>
                  </a:lnTo>
                  <a:lnTo>
                    <a:pt x="3069317" y="307343"/>
                  </a:lnTo>
                  <a:lnTo>
                    <a:pt x="3099668" y="309473"/>
                  </a:lnTo>
                  <a:lnTo>
                    <a:pt x="3099668" y="325448"/>
                  </a:lnTo>
                  <a:lnTo>
                    <a:pt x="2994770" y="325448"/>
                  </a:lnTo>
                  <a:lnTo>
                    <a:pt x="2994770" y="325448"/>
                  </a:lnTo>
                  <a:close/>
                  <a:moveTo>
                    <a:pt x="3299880" y="119378"/>
                  </a:moveTo>
                  <a:lnTo>
                    <a:pt x="3299880" y="168899"/>
                  </a:lnTo>
                  <a:lnTo>
                    <a:pt x="3277516" y="168899"/>
                  </a:lnTo>
                  <a:lnTo>
                    <a:pt x="3274322" y="138547"/>
                  </a:lnTo>
                  <a:cubicBezTo>
                    <a:pt x="3268464" y="135353"/>
                    <a:pt x="3263139" y="132690"/>
                    <a:pt x="3257282" y="130560"/>
                  </a:cubicBezTo>
                  <a:cubicBezTo>
                    <a:pt x="3253022" y="129495"/>
                    <a:pt x="3247165" y="128430"/>
                    <a:pt x="3241308" y="128430"/>
                  </a:cubicBezTo>
                  <a:cubicBezTo>
                    <a:pt x="3230126" y="128430"/>
                    <a:pt x="3221074" y="131625"/>
                    <a:pt x="3215216" y="137482"/>
                  </a:cubicBezTo>
                  <a:cubicBezTo>
                    <a:pt x="3208294" y="143340"/>
                    <a:pt x="3205099" y="149730"/>
                    <a:pt x="3205099" y="159847"/>
                  </a:cubicBezTo>
                  <a:cubicBezTo>
                    <a:pt x="3205099" y="168899"/>
                    <a:pt x="3207229" y="175821"/>
                    <a:pt x="3213086" y="181146"/>
                  </a:cubicBezTo>
                  <a:cubicBezTo>
                    <a:pt x="3218943" y="187003"/>
                    <a:pt x="3227463" y="192328"/>
                    <a:pt x="3242373" y="200315"/>
                  </a:cubicBezTo>
                  <a:cubicBezTo>
                    <a:pt x="3244502" y="201380"/>
                    <a:pt x="3248230" y="202445"/>
                    <a:pt x="3253555" y="204575"/>
                  </a:cubicBezTo>
                  <a:cubicBezTo>
                    <a:pt x="3269529" y="212562"/>
                    <a:pt x="3281776" y="218952"/>
                    <a:pt x="3288699" y="224809"/>
                  </a:cubicBezTo>
                  <a:cubicBezTo>
                    <a:pt x="3294556" y="229069"/>
                    <a:pt x="3298815" y="234926"/>
                    <a:pt x="3300946" y="241848"/>
                  </a:cubicBezTo>
                  <a:cubicBezTo>
                    <a:pt x="3304140" y="247706"/>
                    <a:pt x="3305205" y="255160"/>
                    <a:pt x="3305205" y="263148"/>
                  </a:cubicBezTo>
                  <a:cubicBezTo>
                    <a:pt x="3305205" y="283382"/>
                    <a:pt x="3298283" y="299356"/>
                    <a:pt x="3283906" y="311603"/>
                  </a:cubicBezTo>
                  <a:cubicBezTo>
                    <a:pt x="3269529" y="322785"/>
                    <a:pt x="3248763" y="328643"/>
                    <a:pt x="3223203" y="328643"/>
                  </a:cubicBezTo>
                  <a:cubicBezTo>
                    <a:pt x="3213086" y="328643"/>
                    <a:pt x="3202969" y="327578"/>
                    <a:pt x="3193917" y="326513"/>
                  </a:cubicBezTo>
                  <a:cubicBezTo>
                    <a:pt x="3183800" y="325448"/>
                    <a:pt x="3174748" y="323318"/>
                    <a:pt x="3166761" y="319591"/>
                  </a:cubicBezTo>
                  <a:lnTo>
                    <a:pt x="3166761" y="262083"/>
                  </a:lnTo>
                  <a:lnTo>
                    <a:pt x="3188060" y="262083"/>
                  </a:lnTo>
                  <a:lnTo>
                    <a:pt x="3192319" y="299356"/>
                  </a:lnTo>
                  <a:cubicBezTo>
                    <a:pt x="3199242" y="303616"/>
                    <a:pt x="3204566" y="306279"/>
                    <a:pt x="3211489" y="307343"/>
                  </a:cubicBezTo>
                  <a:cubicBezTo>
                    <a:pt x="3217346" y="309473"/>
                    <a:pt x="3223736" y="310538"/>
                    <a:pt x="3229593" y="310538"/>
                  </a:cubicBezTo>
                  <a:cubicBezTo>
                    <a:pt x="3241840" y="310538"/>
                    <a:pt x="3251957" y="307343"/>
                    <a:pt x="3259944" y="300421"/>
                  </a:cubicBezTo>
                  <a:cubicBezTo>
                    <a:pt x="3267932" y="293499"/>
                    <a:pt x="3271126" y="285512"/>
                    <a:pt x="3271126" y="274330"/>
                  </a:cubicBezTo>
                  <a:cubicBezTo>
                    <a:pt x="3271126" y="265278"/>
                    <a:pt x="3268997" y="258355"/>
                    <a:pt x="3263139" y="253031"/>
                  </a:cubicBezTo>
                  <a:cubicBezTo>
                    <a:pt x="3257282" y="247173"/>
                    <a:pt x="3246100" y="239719"/>
                    <a:pt x="3225866" y="230666"/>
                  </a:cubicBezTo>
                  <a:cubicBezTo>
                    <a:pt x="3204566" y="221614"/>
                    <a:pt x="3189657" y="211497"/>
                    <a:pt x="3182203" y="203510"/>
                  </a:cubicBezTo>
                  <a:cubicBezTo>
                    <a:pt x="3173150" y="194458"/>
                    <a:pt x="3169955" y="183276"/>
                    <a:pt x="3169955" y="171029"/>
                  </a:cubicBezTo>
                  <a:cubicBezTo>
                    <a:pt x="3169955" y="151859"/>
                    <a:pt x="3176878" y="135885"/>
                    <a:pt x="3190190" y="125768"/>
                  </a:cubicBezTo>
                  <a:cubicBezTo>
                    <a:pt x="3203502" y="114586"/>
                    <a:pt x="3222671" y="108729"/>
                    <a:pt x="3247698" y="108729"/>
                  </a:cubicBezTo>
                  <a:cubicBezTo>
                    <a:pt x="3257814" y="108729"/>
                    <a:pt x="3266867" y="109794"/>
                    <a:pt x="3274854" y="111923"/>
                  </a:cubicBezTo>
                  <a:cubicBezTo>
                    <a:pt x="3283906" y="114053"/>
                    <a:pt x="3291893" y="116183"/>
                    <a:pt x="3299880" y="119378"/>
                  </a:cubicBezTo>
                  <a:lnTo>
                    <a:pt x="3299880" y="119378"/>
                  </a:lnTo>
                  <a:close/>
                  <a:moveTo>
                    <a:pt x="3389870" y="112988"/>
                  </a:moveTo>
                  <a:lnTo>
                    <a:pt x="3406909" y="112988"/>
                  </a:lnTo>
                  <a:lnTo>
                    <a:pt x="3406909" y="299889"/>
                  </a:lnTo>
                  <a:lnTo>
                    <a:pt x="3413831" y="307876"/>
                  </a:lnTo>
                  <a:lnTo>
                    <a:pt x="3437261" y="310006"/>
                  </a:lnTo>
                  <a:lnTo>
                    <a:pt x="3437261" y="325980"/>
                  </a:lnTo>
                  <a:lnTo>
                    <a:pt x="3339284" y="325980"/>
                  </a:lnTo>
                  <a:lnTo>
                    <a:pt x="3339284" y="310006"/>
                  </a:lnTo>
                  <a:lnTo>
                    <a:pt x="3361648" y="307876"/>
                  </a:lnTo>
                  <a:lnTo>
                    <a:pt x="3369635" y="299889"/>
                  </a:lnTo>
                  <a:lnTo>
                    <a:pt x="3369635" y="142275"/>
                  </a:lnTo>
                  <a:lnTo>
                    <a:pt x="3339284" y="142275"/>
                  </a:lnTo>
                  <a:lnTo>
                    <a:pt x="3339284" y="127365"/>
                  </a:lnTo>
                  <a:lnTo>
                    <a:pt x="3389870" y="112988"/>
                  </a:lnTo>
                  <a:lnTo>
                    <a:pt x="3389870" y="112988"/>
                  </a:lnTo>
                  <a:close/>
                  <a:moveTo>
                    <a:pt x="3390934" y="15012"/>
                  </a:moveTo>
                  <a:cubicBezTo>
                    <a:pt x="3398922" y="15012"/>
                    <a:pt x="3404246" y="17142"/>
                    <a:pt x="3409039" y="22999"/>
                  </a:cubicBezTo>
                  <a:cubicBezTo>
                    <a:pt x="3414896" y="27259"/>
                    <a:pt x="3417026" y="33116"/>
                    <a:pt x="3417026" y="41104"/>
                  </a:cubicBezTo>
                  <a:cubicBezTo>
                    <a:pt x="3417026" y="48026"/>
                    <a:pt x="3414896" y="53351"/>
                    <a:pt x="3409039" y="58143"/>
                  </a:cubicBezTo>
                  <a:cubicBezTo>
                    <a:pt x="3404779" y="64000"/>
                    <a:pt x="3398922" y="66130"/>
                    <a:pt x="3390934" y="66130"/>
                  </a:cubicBezTo>
                  <a:cubicBezTo>
                    <a:pt x="3384013" y="66130"/>
                    <a:pt x="3378688" y="64000"/>
                    <a:pt x="3372830" y="58143"/>
                  </a:cubicBezTo>
                  <a:cubicBezTo>
                    <a:pt x="3368571" y="53883"/>
                    <a:pt x="3365908" y="48026"/>
                    <a:pt x="3365908" y="41104"/>
                  </a:cubicBezTo>
                  <a:cubicBezTo>
                    <a:pt x="3365908" y="33116"/>
                    <a:pt x="3368038" y="27792"/>
                    <a:pt x="3372830" y="22999"/>
                  </a:cubicBezTo>
                  <a:cubicBezTo>
                    <a:pt x="3378688" y="17142"/>
                    <a:pt x="3384545" y="15012"/>
                    <a:pt x="3390934" y="15012"/>
                  </a:cubicBezTo>
                  <a:lnTo>
                    <a:pt x="3390934" y="15012"/>
                  </a:lnTo>
                  <a:close/>
                  <a:moveTo>
                    <a:pt x="3484651" y="140677"/>
                  </a:moveTo>
                  <a:lnTo>
                    <a:pt x="3457494" y="140677"/>
                  </a:lnTo>
                  <a:lnTo>
                    <a:pt x="3457494" y="127365"/>
                  </a:lnTo>
                  <a:lnTo>
                    <a:pt x="3485716" y="114053"/>
                  </a:lnTo>
                  <a:lnTo>
                    <a:pt x="3504885" y="73585"/>
                  </a:lnTo>
                  <a:lnTo>
                    <a:pt x="3521924" y="73585"/>
                  </a:lnTo>
                  <a:lnTo>
                    <a:pt x="3521924" y="120975"/>
                  </a:lnTo>
                  <a:lnTo>
                    <a:pt x="3588484" y="120975"/>
                  </a:lnTo>
                  <a:lnTo>
                    <a:pt x="3588484" y="141210"/>
                  </a:lnTo>
                  <a:lnTo>
                    <a:pt x="3521924" y="141210"/>
                  </a:lnTo>
                  <a:lnTo>
                    <a:pt x="3521924" y="256225"/>
                  </a:lnTo>
                  <a:cubicBezTo>
                    <a:pt x="3521924" y="275395"/>
                    <a:pt x="3524054" y="288707"/>
                    <a:pt x="3529912" y="294564"/>
                  </a:cubicBezTo>
                  <a:cubicBezTo>
                    <a:pt x="3534172" y="301486"/>
                    <a:pt x="3544821" y="304681"/>
                    <a:pt x="3558133" y="304681"/>
                  </a:cubicBezTo>
                  <a:cubicBezTo>
                    <a:pt x="3562393" y="304681"/>
                    <a:pt x="3567185" y="304681"/>
                    <a:pt x="3573043" y="303616"/>
                  </a:cubicBezTo>
                  <a:cubicBezTo>
                    <a:pt x="3577302" y="303616"/>
                    <a:pt x="3583160" y="302551"/>
                    <a:pt x="3589017" y="301486"/>
                  </a:cubicBezTo>
                  <a:lnTo>
                    <a:pt x="3589017" y="317461"/>
                  </a:lnTo>
                  <a:cubicBezTo>
                    <a:pt x="3578900" y="320655"/>
                    <a:pt x="3568783" y="323318"/>
                    <a:pt x="3559731" y="325448"/>
                  </a:cubicBezTo>
                  <a:cubicBezTo>
                    <a:pt x="3549614" y="326513"/>
                    <a:pt x="3540561" y="327578"/>
                    <a:pt x="3531509" y="327578"/>
                  </a:cubicBezTo>
                  <a:cubicBezTo>
                    <a:pt x="3514470" y="327578"/>
                    <a:pt x="3502223" y="324383"/>
                    <a:pt x="3495300" y="317461"/>
                  </a:cubicBezTo>
                  <a:cubicBezTo>
                    <a:pt x="3488378" y="311603"/>
                    <a:pt x="3485184" y="299356"/>
                    <a:pt x="3485184" y="282317"/>
                  </a:cubicBezTo>
                  <a:lnTo>
                    <a:pt x="3485184" y="140677"/>
                  </a:lnTo>
                  <a:lnTo>
                    <a:pt x="3484651" y="140677"/>
                  </a:lnTo>
                  <a:close/>
                  <a:moveTo>
                    <a:pt x="3592744" y="114053"/>
                  </a:moveTo>
                  <a:lnTo>
                    <a:pt x="3687526" y="114053"/>
                  </a:lnTo>
                  <a:lnTo>
                    <a:pt x="3687526" y="131093"/>
                  </a:lnTo>
                  <a:lnTo>
                    <a:pt x="3665162" y="132158"/>
                  </a:lnTo>
                  <a:lnTo>
                    <a:pt x="3659304" y="140145"/>
                  </a:lnTo>
                  <a:lnTo>
                    <a:pt x="3712020" y="276460"/>
                  </a:lnTo>
                  <a:lnTo>
                    <a:pt x="3765800" y="140145"/>
                  </a:lnTo>
                  <a:lnTo>
                    <a:pt x="3762606" y="132158"/>
                  </a:lnTo>
                  <a:lnTo>
                    <a:pt x="3739176" y="131093"/>
                  </a:lnTo>
                  <a:lnTo>
                    <a:pt x="3739176" y="114053"/>
                  </a:lnTo>
                  <a:lnTo>
                    <a:pt x="3817984" y="114053"/>
                  </a:lnTo>
                  <a:lnTo>
                    <a:pt x="3817984" y="131093"/>
                  </a:lnTo>
                  <a:lnTo>
                    <a:pt x="3791892" y="134287"/>
                  </a:lnTo>
                  <a:lnTo>
                    <a:pt x="3704033" y="347279"/>
                  </a:lnTo>
                  <a:cubicBezTo>
                    <a:pt x="3692851" y="373371"/>
                    <a:pt x="3682734" y="392540"/>
                    <a:pt x="3671552" y="403722"/>
                  </a:cubicBezTo>
                  <a:cubicBezTo>
                    <a:pt x="3660369" y="414904"/>
                    <a:pt x="3648122" y="420762"/>
                    <a:pt x="3634278" y="420762"/>
                  </a:cubicBezTo>
                  <a:cubicBezTo>
                    <a:pt x="3625226" y="420762"/>
                    <a:pt x="3617238" y="418632"/>
                    <a:pt x="3611914" y="413839"/>
                  </a:cubicBezTo>
                  <a:cubicBezTo>
                    <a:pt x="3606056" y="409580"/>
                    <a:pt x="3603926" y="403722"/>
                    <a:pt x="3603926" y="396800"/>
                  </a:cubicBezTo>
                  <a:cubicBezTo>
                    <a:pt x="3603926" y="392540"/>
                    <a:pt x="3604992" y="387748"/>
                    <a:pt x="3606056" y="384553"/>
                  </a:cubicBezTo>
                  <a:cubicBezTo>
                    <a:pt x="3608186" y="380293"/>
                    <a:pt x="3611914" y="376566"/>
                    <a:pt x="3615108" y="373371"/>
                  </a:cubicBezTo>
                  <a:lnTo>
                    <a:pt x="3656642" y="389345"/>
                  </a:lnTo>
                  <a:cubicBezTo>
                    <a:pt x="3663564" y="382423"/>
                    <a:pt x="3669954" y="373371"/>
                    <a:pt x="3675811" y="362189"/>
                  </a:cubicBezTo>
                  <a:cubicBezTo>
                    <a:pt x="3681668" y="351007"/>
                    <a:pt x="3686993" y="338760"/>
                    <a:pt x="3692851" y="323850"/>
                  </a:cubicBezTo>
                  <a:lnTo>
                    <a:pt x="3618304" y="133755"/>
                  </a:lnTo>
                  <a:lnTo>
                    <a:pt x="3592212" y="131625"/>
                  </a:lnTo>
                  <a:lnTo>
                    <a:pt x="3592212" y="114053"/>
                  </a:lnTo>
                  <a:close/>
                  <a:moveTo>
                    <a:pt x="2548019" y="114053"/>
                  </a:moveTo>
                  <a:lnTo>
                    <a:pt x="2643865" y="114053"/>
                  </a:lnTo>
                  <a:lnTo>
                    <a:pt x="2643865" y="131093"/>
                  </a:lnTo>
                  <a:lnTo>
                    <a:pt x="2620436" y="132158"/>
                  </a:lnTo>
                  <a:lnTo>
                    <a:pt x="2616176" y="140145"/>
                  </a:lnTo>
                  <a:lnTo>
                    <a:pt x="2666762" y="283382"/>
                  </a:lnTo>
                  <a:lnTo>
                    <a:pt x="2723205" y="140145"/>
                  </a:lnTo>
                  <a:lnTo>
                    <a:pt x="2720010" y="132158"/>
                  </a:lnTo>
                  <a:lnTo>
                    <a:pt x="2696581" y="131093"/>
                  </a:lnTo>
                  <a:lnTo>
                    <a:pt x="2696581" y="114053"/>
                  </a:lnTo>
                  <a:lnTo>
                    <a:pt x="2773258" y="114053"/>
                  </a:lnTo>
                  <a:lnTo>
                    <a:pt x="2773258" y="131093"/>
                  </a:lnTo>
                  <a:lnTo>
                    <a:pt x="2748231" y="134287"/>
                  </a:lnTo>
                  <a:lnTo>
                    <a:pt x="2671554" y="325448"/>
                  </a:lnTo>
                  <a:lnTo>
                    <a:pt x="2646528" y="325448"/>
                  </a:lnTo>
                  <a:lnTo>
                    <a:pt x="2575708" y="132690"/>
                  </a:lnTo>
                  <a:lnTo>
                    <a:pt x="2548552" y="130560"/>
                  </a:lnTo>
                  <a:lnTo>
                    <a:pt x="2548552" y="114053"/>
                  </a:lnTo>
                  <a:lnTo>
                    <a:pt x="2548019" y="114053"/>
                  </a:lnTo>
                  <a:close/>
                  <a:moveTo>
                    <a:pt x="2873364" y="110326"/>
                  </a:moveTo>
                  <a:lnTo>
                    <a:pt x="2873364" y="129495"/>
                  </a:lnTo>
                  <a:cubicBezTo>
                    <a:pt x="2860052" y="130560"/>
                    <a:pt x="2849935" y="137482"/>
                    <a:pt x="2839818" y="147599"/>
                  </a:cubicBezTo>
                  <a:cubicBezTo>
                    <a:pt x="2829701" y="158782"/>
                    <a:pt x="2823843" y="173691"/>
                    <a:pt x="2822779" y="191263"/>
                  </a:cubicBezTo>
                  <a:lnTo>
                    <a:pt x="2873364" y="191263"/>
                  </a:lnTo>
                  <a:lnTo>
                    <a:pt x="2873364" y="209367"/>
                  </a:lnTo>
                  <a:lnTo>
                    <a:pt x="2820649" y="209367"/>
                  </a:lnTo>
                  <a:lnTo>
                    <a:pt x="2820649" y="215224"/>
                  </a:lnTo>
                  <a:cubicBezTo>
                    <a:pt x="2820649" y="242381"/>
                    <a:pt x="2827571" y="263680"/>
                    <a:pt x="2839818" y="280719"/>
                  </a:cubicBezTo>
                  <a:cubicBezTo>
                    <a:pt x="2848870" y="290837"/>
                    <a:pt x="2860052" y="298824"/>
                    <a:pt x="2873364" y="302019"/>
                  </a:cubicBezTo>
                  <a:lnTo>
                    <a:pt x="2873364" y="329175"/>
                  </a:lnTo>
                  <a:cubicBezTo>
                    <a:pt x="2847273" y="328110"/>
                    <a:pt x="2825973" y="317993"/>
                    <a:pt x="2808934" y="299889"/>
                  </a:cubicBezTo>
                  <a:cubicBezTo>
                    <a:pt x="2790830" y="279655"/>
                    <a:pt x="2781778" y="253563"/>
                    <a:pt x="2781778" y="221082"/>
                  </a:cubicBezTo>
                  <a:cubicBezTo>
                    <a:pt x="2781778" y="188600"/>
                    <a:pt x="2791895" y="162509"/>
                    <a:pt x="2809999" y="141210"/>
                  </a:cubicBezTo>
                  <a:cubicBezTo>
                    <a:pt x="2827038" y="123106"/>
                    <a:pt x="2847273" y="112988"/>
                    <a:pt x="2873364" y="110326"/>
                  </a:cubicBezTo>
                  <a:lnTo>
                    <a:pt x="2873364" y="110326"/>
                  </a:lnTo>
                  <a:close/>
                  <a:moveTo>
                    <a:pt x="1632686" y="323318"/>
                  </a:moveTo>
                  <a:lnTo>
                    <a:pt x="1632686" y="304149"/>
                  </a:lnTo>
                  <a:cubicBezTo>
                    <a:pt x="1636946" y="303084"/>
                    <a:pt x="1641738" y="302019"/>
                    <a:pt x="1647063" y="299889"/>
                  </a:cubicBezTo>
                  <a:cubicBezTo>
                    <a:pt x="1656115" y="296694"/>
                    <a:pt x="1666232" y="291902"/>
                    <a:pt x="1677414" y="285512"/>
                  </a:cubicBezTo>
                  <a:lnTo>
                    <a:pt x="1677414" y="207237"/>
                  </a:lnTo>
                  <a:cubicBezTo>
                    <a:pt x="1659310" y="213095"/>
                    <a:pt x="1644933" y="217354"/>
                    <a:pt x="1632153" y="222147"/>
                  </a:cubicBezTo>
                  <a:lnTo>
                    <a:pt x="1632153" y="204042"/>
                  </a:lnTo>
                  <a:cubicBezTo>
                    <a:pt x="1645465" y="200847"/>
                    <a:pt x="1660375" y="196055"/>
                    <a:pt x="1677414" y="192860"/>
                  </a:cubicBezTo>
                  <a:lnTo>
                    <a:pt x="1677414" y="178483"/>
                  </a:lnTo>
                  <a:cubicBezTo>
                    <a:pt x="1677414" y="160379"/>
                    <a:pt x="1674219" y="148132"/>
                    <a:pt x="1668362" y="140145"/>
                  </a:cubicBezTo>
                  <a:cubicBezTo>
                    <a:pt x="1662505" y="133223"/>
                    <a:pt x="1651323" y="130028"/>
                    <a:pt x="1636946" y="130028"/>
                  </a:cubicBezTo>
                  <a:cubicBezTo>
                    <a:pt x="1635881" y="130028"/>
                    <a:pt x="1633751" y="130028"/>
                    <a:pt x="1632686" y="130028"/>
                  </a:cubicBezTo>
                  <a:lnTo>
                    <a:pt x="1632686" y="110858"/>
                  </a:lnTo>
                  <a:cubicBezTo>
                    <a:pt x="1638543" y="110858"/>
                    <a:pt x="1642803" y="109794"/>
                    <a:pt x="1648660" y="109794"/>
                  </a:cubicBezTo>
                  <a:cubicBezTo>
                    <a:pt x="1672089" y="109794"/>
                    <a:pt x="1688064" y="115651"/>
                    <a:pt x="1699246" y="125768"/>
                  </a:cubicBezTo>
                  <a:cubicBezTo>
                    <a:pt x="1709363" y="135885"/>
                    <a:pt x="1715220" y="151859"/>
                    <a:pt x="1715220" y="174223"/>
                  </a:cubicBezTo>
                  <a:lnTo>
                    <a:pt x="1715220" y="300421"/>
                  </a:lnTo>
                  <a:lnTo>
                    <a:pt x="1722143" y="308408"/>
                  </a:lnTo>
                  <a:lnTo>
                    <a:pt x="1745572" y="310538"/>
                  </a:lnTo>
                  <a:lnTo>
                    <a:pt x="1745572" y="326513"/>
                  </a:lnTo>
                  <a:lnTo>
                    <a:pt x="1683804" y="326513"/>
                  </a:lnTo>
                  <a:lnTo>
                    <a:pt x="1677947" y="300421"/>
                  </a:lnTo>
                  <a:cubicBezTo>
                    <a:pt x="1663570" y="310538"/>
                    <a:pt x="1650790" y="317461"/>
                    <a:pt x="1638543" y="321720"/>
                  </a:cubicBezTo>
                  <a:cubicBezTo>
                    <a:pt x="1636946" y="322253"/>
                    <a:pt x="1634816" y="322253"/>
                    <a:pt x="1632686" y="323318"/>
                  </a:cubicBezTo>
                  <a:lnTo>
                    <a:pt x="1632686" y="323318"/>
                  </a:lnTo>
                  <a:close/>
                  <a:moveTo>
                    <a:pt x="2494771" y="15012"/>
                  </a:moveTo>
                  <a:cubicBezTo>
                    <a:pt x="2502758" y="15012"/>
                    <a:pt x="2508083" y="17142"/>
                    <a:pt x="2512875" y="22999"/>
                  </a:cubicBezTo>
                  <a:cubicBezTo>
                    <a:pt x="2518732" y="27259"/>
                    <a:pt x="2520862" y="33116"/>
                    <a:pt x="2520862" y="41104"/>
                  </a:cubicBezTo>
                  <a:cubicBezTo>
                    <a:pt x="2520862" y="48026"/>
                    <a:pt x="2518732" y="53351"/>
                    <a:pt x="2512875" y="58143"/>
                  </a:cubicBezTo>
                  <a:cubicBezTo>
                    <a:pt x="2508616" y="64000"/>
                    <a:pt x="2502758" y="66130"/>
                    <a:pt x="2494771" y="66130"/>
                  </a:cubicBezTo>
                  <a:cubicBezTo>
                    <a:pt x="2487849" y="66130"/>
                    <a:pt x="2482524" y="64000"/>
                    <a:pt x="2477731" y="58143"/>
                  </a:cubicBezTo>
                  <a:cubicBezTo>
                    <a:pt x="2471874" y="53883"/>
                    <a:pt x="2469744" y="48026"/>
                    <a:pt x="2469744" y="41104"/>
                  </a:cubicBezTo>
                  <a:cubicBezTo>
                    <a:pt x="2469744" y="33116"/>
                    <a:pt x="2471874" y="27792"/>
                    <a:pt x="2477731" y="22999"/>
                  </a:cubicBezTo>
                  <a:cubicBezTo>
                    <a:pt x="2482524" y="17142"/>
                    <a:pt x="2488381" y="15012"/>
                    <a:pt x="2494771" y="15012"/>
                  </a:cubicBezTo>
                  <a:lnTo>
                    <a:pt x="2494771" y="15012"/>
                  </a:lnTo>
                  <a:close/>
                  <a:moveTo>
                    <a:pt x="2493706" y="112988"/>
                  </a:moveTo>
                  <a:lnTo>
                    <a:pt x="2510745" y="112988"/>
                  </a:lnTo>
                  <a:lnTo>
                    <a:pt x="2510745" y="299889"/>
                  </a:lnTo>
                  <a:lnTo>
                    <a:pt x="2518732" y="307876"/>
                  </a:lnTo>
                  <a:lnTo>
                    <a:pt x="2542162" y="310006"/>
                  </a:lnTo>
                  <a:lnTo>
                    <a:pt x="2542162" y="325980"/>
                  </a:lnTo>
                  <a:lnTo>
                    <a:pt x="2443120" y="325980"/>
                  </a:lnTo>
                  <a:lnTo>
                    <a:pt x="2443120" y="310006"/>
                  </a:lnTo>
                  <a:lnTo>
                    <a:pt x="2466549" y="307876"/>
                  </a:lnTo>
                  <a:lnTo>
                    <a:pt x="2473472" y="299889"/>
                  </a:lnTo>
                  <a:lnTo>
                    <a:pt x="2473472" y="142275"/>
                  </a:lnTo>
                  <a:lnTo>
                    <a:pt x="2443120" y="142275"/>
                  </a:lnTo>
                  <a:lnTo>
                    <a:pt x="2443120" y="127365"/>
                  </a:lnTo>
                  <a:lnTo>
                    <a:pt x="2493706" y="112988"/>
                  </a:lnTo>
                  <a:lnTo>
                    <a:pt x="2493706" y="112988"/>
                  </a:lnTo>
                  <a:close/>
                  <a:moveTo>
                    <a:pt x="2191790" y="325448"/>
                  </a:moveTo>
                  <a:lnTo>
                    <a:pt x="2191790" y="309473"/>
                  </a:lnTo>
                  <a:lnTo>
                    <a:pt x="2215219" y="307343"/>
                  </a:lnTo>
                  <a:lnTo>
                    <a:pt x="2223206" y="299356"/>
                  </a:lnTo>
                  <a:lnTo>
                    <a:pt x="2223206" y="141742"/>
                  </a:lnTo>
                  <a:lnTo>
                    <a:pt x="2191790" y="141742"/>
                  </a:lnTo>
                  <a:lnTo>
                    <a:pt x="2191790" y="127365"/>
                  </a:lnTo>
                  <a:lnTo>
                    <a:pt x="2242376" y="112456"/>
                  </a:lnTo>
                  <a:lnTo>
                    <a:pt x="2259415" y="112456"/>
                  </a:lnTo>
                  <a:lnTo>
                    <a:pt x="2259415" y="135885"/>
                  </a:lnTo>
                  <a:cubicBezTo>
                    <a:pt x="2277519" y="125768"/>
                    <a:pt x="2290831" y="118846"/>
                    <a:pt x="2302013" y="115651"/>
                  </a:cubicBezTo>
                  <a:cubicBezTo>
                    <a:pt x="2312130" y="111391"/>
                    <a:pt x="2321183" y="108729"/>
                    <a:pt x="2330235" y="108729"/>
                  </a:cubicBezTo>
                  <a:cubicBezTo>
                    <a:pt x="2349404" y="108729"/>
                    <a:pt x="2363781" y="115651"/>
                    <a:pt x="2373898" y="126833"/>
                  </a:cubicBezTo>
                  <a:cubicBezTo>
                    <a:pt x="2384015" y="138015"/>
                    <a:pt x="2388275" y="155054"/>
                    <a:pt x="2388275" y="176354"/>
                  </a:cubicBezTo>
                  <a:lnTo>
                    <a:pt x="2388275" y="298824"/>
                  </a:lnTo>
                  <a:lnTo>
                    <a:pt x="2396262" y="306811"/>
                  </a:lnTo>
                  <a:lnTo>
                    <a:pt x="2419691" y="308941"/>
                  </a:lnTo>
                  <a:lnTo>
                    <a:pt x="2419691" y="324915"/>
                  </a:lnTo>
                  <a:lnTo>
                    <a:pt x="2323845" y="324915"/>
                  </a:lnTo>
                  <a:lnTo>
                    <a:pt x="2323845" y="308941"/>
                  </a:lnTo>
                  <a:lnTo>
                    <a:pt x="2344079" y="306811"/>
                  </a:lnTo>
                  <a:lnTo>
                    <a:pt x="2352066" y="298824"/>
                  </a:lnTo>
                  <a:lnTo>
                    <a:pt x="2352066" y="182743"/>
                  </a:lnTo>
                  <a:cubicBezTo>
                    <a:pt x="2352066" y="166769"/>
                    <a:pt x="2348872" y="155587"/>
                    <a:pt x="2341949" y="147599"/>
                  </a:cubicBezTo>
                  <a:cubicBezTo>
                    <a:pt x="2335027" y="140677"/>
                    <a:pt x="2323845" y="137482"/>
                    <a:pt x="2308403" y="137482"/>
                  </a:cubicBezTo>
                  <a:cubicBezTo>
                    <a:pt x="2300416" y="137482"/>
                    <a:pt x="2294026" y="138547"/>
                    <a:pt x="2284974" y="140677"/>
                  </a:cubicBezTo>
                  <a:cubicBezTo>
                    <a:pt x="2276987" y="143872"/>
                    <a:pt x="2267935" y="147599"/>
                    <a:pt x="2258882" y="151859"/>
                  </a:cubicBezTo>
                  <a:lnTo>
                    <a:pt x="2258882" y="298291"/>
                  </a:lnTo>
                  <a:lnTo>
                    <a:pt x="2266870" y="306279"/>
                  </a:lnTo>
                  <a:lnTo>
                    <a:pt x="2287104" y="308408"/>
                  </a:lnTo>
                  <a:lnTo>
                    <a:pt x="2287104" y="324383"/>
                  </a:lnTo>
                  <a:lnTo>
                    <a:pt x="2191790" y="324383"/>
                  </a:lnTo>
                  <a:lnTo>
                    <a:pt x="2191790" y="325448"/>
                  </a:lnTo>
                  <a:close/>
                  <a:moveTo>
                    <a:pt x="1885614" y="31519"/>
                  </a:moveTo>
                  <a:lnTo>
                    <a:pt x="1992642" y="31519"/>
                  </a:lnTo>
                  <a:lnTo>
                    <a:pt x="1992642" y="48558"/>
                  </a:lnTo>
                  <a:lnTo>
                    <a:pt x="1965486" y="50688"/>
                  </a:lnTo>
                  <a:lnTo>
                    <a:pt x="1958563" y="57610"/>
                  </a:lnTo>
                  <a:lnTo>
                    <a:pt x="1958563" y="216289"/>
                  </a:lnTo>
                  <a:cubicBezTo>
                    <a:pt x="1958563" y="246641"/>
                    <a:pt x="1964421" y="269005"/>
                    <a:pt x="1976668" y="282849"/>
                  </a:cubicBezTo>
                  <a:cubicBezTo>
                    <a:pt x="1988915" y="296161"/>
                    <a:pt x="2009149" y="303084"/>
                    <a:pt x="2036306" y="303084"/>
                  </a:cubicBezTo>
                  <a:cubicBezTo>
                    <a:pt x="2063462" y="303084"/>
                    <a:pt x="2083696" y="296161"/>
                    <a:pt x="2095944" y="282849"/>
                  </a:cubicBezTo>
                  <a:cubicBezTo>
                    <a:pt x="2108191" y="268472"/>
                    <a:pt x="2114048" y="246641"/>
                    <a:pt x="2114048" y="216289"/>
                  </a:cubicBezTo>
                  <a:lnTo>
                    <a:pt x="2114048" y="60805"/>
                  </a:lnTo>
                  <a:lnTo>
                    <a:pt x="2106061" y="52818"/>
                  </a:lnTo>
                  <a:lnTo>
                    <a:pt x="2078904" y="48558"/>
                  </a:lnTo>
                  <a:lnTo>
                    <a:pt x="2078904" y="31519"/>
                  </a:lnTo>
                  <a:lnTo>
                    <a:pt x="2172088" y="31519"/>
                  </a:lnTo>
                  <a:lnTo>
                    <a:pt x="2172088" y="48558"/>
                  </a:lnTo>
                  <a:lnTo>
                    <a:pt x="2144932" y="52818"/>
                  </a:lnTo>
                  <a:lnTo>
                    <a:pt x="2136944" y="60805"/>
                  </a:lnTo>
                  <a:lnTo>
                    <a:pt x="2136944" y="219484"/>
                  </a:lnTo>
                  <a:cubicBezTo>
                    <a:pt x="2136944" y="240783"/>
                    <a:pt x="2135880" y="256758"/>
                    <a:pt x="2132685" y="267940"/>
                  </a:cubicBezTo>
                  <a:cubicBezTo>
                    <a:pt x="2130555" y="279122"/>
                    <a:pt x="2124697" y="288174"/>
                    <a:pt x="2118308" y="297226"/>
                  </a:cubicBezTo>
                  <a:cubicBezTo>
                    <a:pt x="2109256" y="307343"/>
                    <a:pt x="2098073" y="315331"/>
                    <a:pt x="2081034" y="320655"/>
                  </a:cubicBezTo>
                  <a:cubicBezTo>
                    <a:pt x="2065059" y="327578"/>
                    <a:pt x="2047488" y="329708"/>
                    <a:pt x="2028319" y="329708"/>
                  </a:cubicBezTo>
                  <a:cubicBezTo>
                    <a:pt x="2008084" y="329708"/>
                    <a:pt x="1989980" y="327578"/>
                    <a:pt x="1974538" y="320655"/>
                  </a:cubicBezTo>
                  <a:cubicBezTo>
                    <a:pt x="1958563" y="314798"/>
                    <a:pt x="1946317" y="307343"/>
                    <a:pt x="1937264" y="297226"/>
                  </a:cubicBezTo>
                  <a:cubicBezTo>
                    <a:pt x="1930342" y="288174"/>
                    <a:pt x="1925017" y="279122"/>
                    <a:pt x="1922888" y="267940"/>
                  </a:cubicBezTo>
                  <a:cubicBezTo>
                    <a:pt x="1919693" y="256758"/>
                    <a:pt x="1918627" y="240783"/>
                    <a:pt x="1918627" y="219484"/>
                  </a:cubicBezTo>
                  <a:lnTo>
                    <a:pt x="1918627" y="57610"/>
                  </a:lnTo>
                  <a:lnTo>
                    <a:pt x="1910640" y="50688"/>
                  </a:lnTo>
                  <a:lnTo>
                    <a:pt x="1885614" y="48558"/>
                  </a:lnTo>
                  <a:lnTo>
                    <a:pt x="1885614" y="31519"/>
                  </a:lnTo>
                  <a:close/>
                  <a:moveTo>
                    <a:pt x="1632686" y="110326"/>
                  </a:moveTo>
                  <a:lnTo>
                    <a:pt x="1632686" y="129495"/>
                  </a:lnTo>
                  <a:cubicBezTo>
                    <a:pt x="1629491" y="129495"/>
                    <a:pt x="1624699" y="130560"/>
                    <a:pt x="1621504" y="130560"/>
                  </a:cubicBezTo>
                  <a:cubicBezTo>
                    <a:pt x="1615647" y="131625"/>
                    <a:pt x="1610322" y="133755"/>
                    <a:pt x="1604464" y="136418"/>
                  </a:cubicBezTo>
                  <a:lnTo>
                    <a:pt x="1604464" y="173691"/>
                  </a:lnTo>
                  <a:lnTo>
                    <a:pt x="1574113" y="173691"/>
                  </a:lnTo>
                  <a:cubicBezTo>
                    <a:pt x="1568256" y="173691"/>
                    <a:pt x="1565061" y="172626"/>
                    <a:pt x="1562931" y="170496"/>
                  </a:cubicBezTo>
                  <a:cubicBezTo>
                    <a:pt x="1560801" y="168366"/>
                    <a:pt x="1560801" y="164639"/>
                    <a:pt x="1560801" y="160379"/>
                  </a:cubicBezTo>
                  <a:cubicBezTo>
                    <a:pt x="1560801" y="145470"/>
                    <a:pt x="1568788" y="133223"/>
                    <a:pt x="1584230" y="124170"/>
                  </a:cubicBezTo>
                  <a:cubicBezTo>
                    <a:pt x="1597542" y="116183"/>
                    <a:pt x="1613517" y="111923"/>
                    <a:pt x="1632686" y="110326"/>
                  </a:cubicBezTo>
                  <a:lnTo>
                    <a:pt x="1632686" y="110326"/>
                  </a:lnTo>
                  <a:close/>
                  <a:moveTo>
                    <a:pt x="1632686" y="204042"/>
                  </a:moveTo>
                  <a:lnTo>
                    <a:pt x="1632686" y="222147"/>
                  </a:lnTo>
                  <a:cubicBezTo>
                    <a:pt x="1620439" y="226407"/>
                    <a:pt x="1611387" y="231199"/>
                    <a:pt x="1605529" y="235459"/>
                  </a:cubicBezTo>
                  <a:cubicBezTo>
                    <a:pt x="1594347" y="244511"/>
                    <a:pt x="1587425" y="254628"/>
                    <a:pt x="1587425" y="269005"/>
                  </a:cubicBezTo>
                  <a:cubicBezTo>
                    <a:pt x="1587425" y="279122"/>
                    <a:pt x="1590620" y="288174"/>
                    <a:pt x="1597542" y="295096"/>
                  </a:cubicBezTo>
                  <a:cubicBezTo>
                    <a:pt x="1603400" y="302019"/>
                    <a:pt x="1611919" y="304149"/>
                    <a:pt x="1623634" y="304149"/>
                  </a:cubicBezTo>
                  <a:cubicBezTo>
                    <a:pt x="1625764" y="304149"/>
                    <a:pt x="1629491" y="304149"/>
                    <a:pt x="1632686" y="304149"/>
                  </a:cubicBezTo>
                  <a:lnTo>
                    <a:pt x="1632686" y="323318"/>
                  </a:lnTo>
                  <a:cubicBezTo>
                    <a:pt x="1623634" y="326513"/>
                    <a:pt x="1614582" y="327578"/>
                    <a:pt x="1605529" y="327578"/>
                  </a:cubicBezTo>
                  <a:cubicBezTo>
                    <a:pt x="1588490" y="327578"/>
                    <a:pt x="1575178" y="323318"/>
                    <a:pt x="1565061" y="313201"/>
                  </a:cubicBezTo>
                  <a:cubicBezTo>
                    <a:pt x="1554944" y="303084"/>
                    <a:pt x="1549087" y="288174"/>
                    <a:pt x="1549087" y="272732"/>
                  </a:cubicBezTo>
                  <a:cubicBezTo>
                    <a:pt x="1549087" y="253563"/>
                    <a:pt x="1557074" y="239186"/>
                    <a:pt x="1572516" y="227471"/>
                  </a:cubicBezTo>
                  <a:cubicBezTo>
                    <a:pt x="1583165" y="221082"/>
                    <a:pt x="1603400" y="213095"/>
                    <a:pt x="1632686" y="204042"/>
                  </a:cubicBezTo>
                  <a:lnTo>
                    <a:pt x="1632686" y="204042"/>
                  </a:lnTo>
                  <a:close/>
                  <a:moveTo>
                    <a:pt x="913306" y="420229"/>
                  </a:moveTo>
                  <a:lnTo>
                    <a:pt x="913306" y="401060"/>
                  </a:lnTo>
                  <a:cubicBezTo>
                    <a:pt x="914371" y="401060"/>
                    <a:pt x="916501" y="401060"/>
                    <a:pt x="917565" y="401060"/>
                  </a:cubicBezTo>
                  <a:cubicBezTo>
                    <a:pt x="936735" y="401060"/>
                    <a:pt x="951112" y="396800"/>
                    <a:pt x="963891" y="387748"/>
                  </a:cubicBezTo>
                  <a:cubicBezTo>
                    <a:pt x="976138" y="378696"/>
                    <a:pt x="983061" y="367514"/>
                    <a:pt x="983061" y="354202"/>
                  </a:cubicBezTo>
                  <a:cubicBezTo>
                    <a:pt x="983061" y="345150"/>
                    <a:pt x="980931" y="337162"/>
                    <a:pt x="975073" y="332903"/>
                  </a:cubicBezTo>
                  <a:cubicBezTo>
                    <a:pt x="969216" y="328643"/>
                    <a:pt x="956969" y="323850"/>
                    <a:pt x="937800" y="320655"/>
                  </a:cubicBezTo>
                  <a:lnTo>
                    <a:pt x="912773" y="316396"/>
                  </a:lnTo>
                  <a:lnTo>
                    <a:pt x="912773" y="284979"/>
                  </a:lnTo>
                  <a:lnTo>
                    <a:pt x="940995" y="289239"/>
                  </a:lnTo>
                  <a:cubicBezTo>
                    <a:pt x="968151" y="293499"/>
                    <a:pt x="987320" y="300421"/>
                    <a:pt x="998502" y="308408"/>
                  </a:cubicBezTo>
                  <a:cubicBezTo>
                    <a:pt x="1009685" y="316396"/>
                    <a:pt x="1015542" y="328643"/>
                    <a:pt x="1015542" y="343552"/>
                  </a:cubicBezTo>
                  <a:cubicBezTo>
                    <a:pt x="1015542" y="352604"/>
                    <a:pt x="1013412" y="360591"/>
                    <a:pt x="1008620" y="369644"/>
                  </a:cubicBezTo>
                  <a:cubicBezTo>
                    <a:pt x="1002762" y="378696"/>
                    <a:pt x="997437" y="386683"/>
                    <a:pt x="988385" y="393073"/>
                  </a:cubicBezTo>
                  <a:cubicBezTo>
                    <a:pt x="977203" y="402125"/>
                    <a:pt x="963359" y="409047"/>
                    <a:pt x="948982" y="414372"/>
                  </a:cubicBezTo>
                  <a:cubicBezTo>
                    <a:pt x="937800" y="416502"/>
                    <a:pt x="925552" y="419164"/>
                    <a:pt x="913306" y="420229"/>
                  </a:cubicBezTo>
                  <a:lnTo>
                    <a:pt x="913306" y="420229"/>
                  </a:lnTo>
                  <a:close/>
                  <a:moveTo>
                    <a:pt x="913306" y="252498"/>
                  </a:moveTo>
                  <a:lnTo>
                    <a:pt x="913306" y="234394"/>
                  </a:lnTo>
                  <a:lnTo>
                    <a:pt x="913306" y="234394"/>
                  </a:lnTo>
                  <a:cubicBezTo>
                    <a:pt x="925552" y="234394"/>
                    <a:pt x="936735" y="230134"/>
                    <a:pt x="944722" y="219484"/>
                  </a:cubicBezTo>
                  <a:cubicBezTo>
                    <a:pt x="952709" y="210432"/>
                    <a:pt x="955904" y="197120"/>
                    <a:pt x="955904" y="181146"/>
                  </a:cubicBezTo>
                  <a:cubicBezTo>
                    <a:pt x="955904" y="164106"/>
                    <a:pt x="952709" y="151859"/>
                    <a:pt x="944722" y="141742"/>
                  </a:cubicBezTo>
                  <a:cubicBezTo>
                    <a:pt x="936735" y="131625"/>
                    <a:pt x="926618" y="127365"/>
                    <a:pt x="913306" y="127365"/>
                  </a:cubicBezTo>
                  <a:lnTo>
                    <a:pt x="913306" y="127365"/>
                  </a:lnTo>
                  <a:lnTo>
                    <a:pt x="913306" y="110326"/>
                  </a:lnTo>
                  <a:cubicBezTo>
                    <a:pt x="914371" y="109261"/>
                    <a:pt x="916501" y="109261"/>
                    <a:pt x="917565" y="109261"/>
                  </a:cubicBezTo>
                  <a:cubicBezTo>
                    <a:pt x="925552" y="109261"/>
                    <a:pt x="934605" y="110326"/>
                    <a:pt x="942592" y="112456"/>
                  </a:cubicBezTo>
                  <a:cubicBezTo>
                    <a:pt x="950579" y="114586"/>
                    <a:pt x="959631" y="118313"/>
                    <a:pt x="967619" y="122573"/>
                  </a:cubicBezTo>
                  <a:lnTo>
                    <a:pt x="1030451" y="122573"/>
                  </a:lnTo>
                  <a:lnTo>
                    <a:pt x="1030451" y="142807"/>
                  </a:lnTo>
                  <a:lnTo>
                    <a:pt x="981996" y="142807"/>
                  </a:lnTo>
                  <a:cubicBezTo>
                    <a:pt x="986255" y="148665"/>
                    <a:pt x="988918" y="155054"/>
                    <a:pt x="991048" y="161976"/>
                  </a:cubicBezTo>
                  <a:cubicBezTo>
                    <a:pt x="993178" y="168899"/>
                    <a:pt x="994243" y="175288"/>
                    <a:pt x="994243" y="183276"/>
                  </a:cubicBezTo>
                  <a:cubicBezTo>
                    <a:pt x="994243" y="203510"/>
                    <a:pt x="986255" y="219484"/>
                    <a:pt x="970813" y="232796"/>
                  </a:cubicBezTo>
                  <a:cubicBezTo>
                    <a:pt x="955904" y="245576"/>
                    <a:pt x="936735" y="251433"/>
                    <a:pt x="913306" y="252498"/>
                  </a:cubicBezTo>
                  <a:lnTo>
                    <a:pt x="913306" y="252498"/>
                  </a:lnTo>
                  <a:close/>
                  <a:moveTo>
                    <a:pt x="1344082" y="109261"/>
                  </a:moveTo>
                  <a:lnTo>
                    <a:pt x="1361121" y="109261"/>
                  </a:lnTo>
                  <a:lnTo>
                    <a:pt x="1361121" y="254628"/>
                  </a:lnTo>
                  <a:cubicBezTo>
                    <a:pt x="1361121" y="271667"/>
                    <a:pt x="1364316" y="282849"/>
                    <a:pt x="1371238" y="290837"/>
                  </a:cubicBezTo>
                  <a:cubicBezTo>
                    <a:pt x="1378160" y="297759"/>
                    <a:pt x="1388278" y="302019"/>
                    <a:pt x="1402655" y="302019"/>
                  </a:cubicBezTo>
                  <a:cubicBezTo>
                    <a:pt x="1410642" y="302019"/>
                    <a:pt x="1419694" y="300954"/>
                    <a:pt x="1427681" y="298824"/>
                  </a:cubicBezTo>
                  <a:cubicBezTo>
                    <a:pt x="1436733" y="296694"/>
                    <a:pt x="1444720" y="292967"/>
                    <a:pt x="1453773" y="288707"/>
                  </a:cubicBezTo>
                  <a:lnTo>
                    <a:pt x="1453773" y="140145"/>
                  </a:lnTo>
                  <a:lnTo>
                    <a:pt x="1422889" y="140145"/>
                  </a:lnTo>
                  <a:lnTo>
                    <a:pt x="1422889" y="126833"/>
                  </a:lnTo>
                  <a:lnTo>
                    <a:pt x="1473474" y="109794"/>
                  </a:lnTo>
                  <a:lnTo>
                    <a:pt x="1490514" y="109794"/>
                  </a:lnTo>
                  <a:lnTo>
                    <a:pt x="1490514" y="299889"/>
                  </a:lnTo>
                  <a:lnTo>
                    <a:pt x="1498501" y="307876"/>
                  </a:lnTo>
                  <a:lnTo>
                    <a:pt x="1518735" y="310006"/>
                  </a:lnTo>
                  <a:lnTo>
                    <a:pt x="1518735" y="325980"/>
                  </a:lnTo>
                  <a:lnTo>
                    <a:pt x="1453240" y="325980"/>
                  </a:lnTo>
                  <a:lnTo>
                    <a:pt x="1453240" y="300954"/>
                  </a:lnTo>
                  <a:cubicBezTo>
                    <a:pt x="1439928" y="311071"/>
                    <a:pt x="1427149" y="317993"/>
                    <a:pt x="1415967" y="322253"/>
                  </a:cubicBezTo>
                  <a:cubicBezTo>
                    <a:pt x="1403720" y="326513"/>
                    <a:pt x="1393602" y="329175"/>
                    <a:pt x="1382421" y="329175"/>
                  </a:cubicBezTo>
                  <a:cubicBezTo>
                    <a:pt x="1363251" y="329175"/>
                    <a:pt x="1349939" y="323318"/>
                    <a:pt x="1339822" y="312136"/>
                  </a:cubicBezTo>
                  <a:cubicBezTo>
                    <a:pt x="1329705" y="300954"/>
                    <a:pt x="1323848" y="283914"/>
                    <a:pt x="1323848" y="262615"/>
                  </a:cubicBezTo>
                  <a:lnTo>
                    <a:pt x="1323848" y="140145"/>
                  </a:lnTo>
                  <a:lnTo>
                    <a:pt x="1292431" y="140145"/>
                  </a:lnTo>
                  <a:lnTo>
                    <a:pt x="1292431" y="126833"/>
                  </a:lnTo>
                  <a:lnTo>
                    <a:pt x="1344082" y="109261"/>
                  </a:lnTo>
                  <a:lnTo>
                    <a:pt x="1344082" y="109261"/>
                  </a:lnTo>
                  <a:close/>
                  <a:moveTo>
                    <a:pt x="1096479" y="2233"/>
                  </a:moveTo>
                  <a:lnTo>
                    <a:pt x="1113518" y="2233"/>
                  </a:lnTo>
                  <a:lnTo>
                    <a:pt x="1113518" y="136418"/>
                  </a:lnTo>
                  <a:cubicBezTo>
                    <a:pt x="1130557" y="126300"/>
                    <a:pt x="1143869" y="119378"/>
                    <a:pt x="1155052" y="116183"/>
                  </a:cubicBezTo>
                  <a:cubicBezTo>
                    <a:pt x="1166233" y="111923"/>
                    <a:pt x="1175286" y="109261"/>
                    <a:pt x="1184338" y="109261"/>
                  </a:cubicBezTo>
                  <a:cubicBezTo>
                    <a:pt x="1203507" y="109261"/>
                    <a:pt x="1217884" y="116183"/>
                    <a:pt x="1228001" y="127365"/>
                  </a:cubicBezTo>
                  <a:cubicBezTo>
                    <a:pt x="1238118" y="138547"/>
                    <a:pt x="1242911" y="155587"/>
                    <a:pt x="1242911" y="176886"/>
                  </a:cubicBezTo>
                  <a:lnTo>
                    <a:pt x="1242911" y="299356"/>
                  </a:lnTo>
                  <a:lnTo>
                    <a:pt x="1250898" y="307343"/>
                  </a:lnTo>
                  <a:lnTo>
                    <a:pt x="1273262" y="309473"/>
                  </a:lnTo>
                  <a:lnTo>
                    <a:pt x="1273262" y="325448"/>
                  </a:lnTo>
                  <a:lnTo>
                    <a:pt x="1178480" y="325448"/>
                  </a:lnTo>
                  <a:lnTo>
                    <a:pt x="1178480" y="309473"/>
                  </a:lnTo>
                  <a:lnTo>
                    <a:pt x="1198715" y="307343"/>
                  </a:lnTo>
                  <a:lnTo>
                    <a:pt x="1205637" y="299356"/>
                  </a:lnTo>
                  <a:lnTo>
                    <a:pt x="1205637" y="183276"/>
                  </a:lnTo>
                  <a:cubicBezTo>
                    <a:pt x="1205637" y="167301"/>
                    <a:pt x="1202442" y="155054"/>
                    <a:pt x="1195520" y="148132"/>
                  </a:cubicBezTo>
                  <a:cubicBezTo>
                    <a:pt x="1188598" y="141210"/>
                    <a:pt x="1177416" y="138015"/>
                    <a:pt x="1161974" y="138015"/>
                  </a:cubicBezTo>
                  <a:cubicBezTo>
                    <a:pt x="1155052" y="138015"/>
                    <a:pt x="1147597" y="139080"/>
                    <a:pt x="1139610" y="141210"/>
                  </a:cubicBezTo>
                  <a:cubicBezTo>
                    <a:pt x="1131622" y="144405"/>
                    <a:pt x="1122570" y="148132"/>
                    <a:pt x="1113518" y="152392"/>
                  </a:cubicBezTo>
                  <a:lnTo>
                    <a:pt x="1113518" y="298824"/>
                  </a:lnTo>
                  <a:lnTo>
                    <a:pt x="1121505" y="306811"/>
                  </a:lnTo>
                  <a:lnTo>
                    <a:pt x="1141740" y="308941"/>
                  </a:lnTo>
                  <a:lnTo>
                    <a:pt x="1141740" y="324915"/>
                  </a:lnTo>
                  <a:lnTo>
                    <a:pt x="1045893" y="324915"/>
                  </a:lnTo>
                  <a:lnTo>
                    <a:pt x="1045893" y="308941"/>
                  </a:lnTo>
                  <a:lnTo>
                    <a:pt x="1069322" y="306811"/>
                  </a:lnTo>
                  <a:lnTo>
                    <a:pt x="1076245" y="298824"/>
                  </a:lnTo>
                  <a:lnTo>
                    <a:pt x="1076245" y="31519"/>
                  </a:lnTo>
                  <a:lnTo>
                    <a:pt x="1042698" y="31519"/>
                  </a:lnTo>
                  <a:lnTo>
                    <a:pt x="1042698" y="18207"/>
                  </a:lnTo>
                  <a:lnTo>
                    <a:pt x="1096479" y="2233"/>
                  </a:lnTo>
                  <a:close/>
                  <a:moveTo>
                    <a:pt x="913306" y="110326"/>
                  </a:moveTo>
                  <a:lnTo>
                    <a:pt x="913306" y="127365"/>
                  </a:lnTo>
                  <a:cubicBezTo>
                    <a:pt x="899994" y="127365"/>
                    <a:pt x="889877" y="131625"/>
                    <a:pt x="881889" y="141742"/>
                  </a:cubicBezTo>
                  <a:cubicBezTo>
                    <a:pt x="873902" y="150794"/>
                    <a:pt x="870707" y="164106"/>
                    <a:pt x="870707" y="181146"/>
                  </a:cubicBezTo>
                  <a:cubicBezTo>
                    <a:pt x="870707" y="197120"/>
                    <a:pt x="873902" y="210432"/>
                    <a:pt x="882954" y="219484"/>
                  </a:cubicBezTo>
                  <a:cubicBezTo>
                    <a:pt x="890941" y="229601"/>
                    <a:pt x="901059" y="234394"/>
                    <a:pt x="913306" y="234394"/>
                  </a:cubicBezTo>
                  <a:lnTo>
                    <a:pt x="913306" y="252498"/>
                  </a:lnTo>
                  <a:cubicBezTo>
                    <a:pt x="912240" y="252498"/>
                    <a:pt x="911176" y="252498"/>
                    <a:pt x="910111" y="252498"/>
                  </a:cubicBezTo>
                  <a:lnTo>
                    <a:pt x="903189" y="252498"/>
                  </a:lnTo>
                  <a:cubicBezTo>
                    <a:pt x="901059" y="255693"/>
                    <a:pt x="899994" y="258355"/>
                    <a:pt x="898929" y="261550"/>
                  </a:cubicBezTo>
                  <a:cubicBezTo>
                    <a:pt x="898929" y="264745"/>
                    <a:pt x="897864" y="268472"/>
                    <a:pt x="897864" y="271667"/>
                  </a:cubicBezTo>
                  <a:cubicBezTo>
                    <a:pt x="897864" y="272732"/>
                    <a:pt x="898929" y="274862"/>
                    <a:pt x="898929" y="278590"/>
                  </a:cubicBezTo>
                  <a:cubicBezTo>
                    <a:pt x="898929" y="280719"/>
                    <a:pt x="898929" y="281784"/>
                    <a:pt x="898929" y="281784"/>
                  </a:cubicBezTo>
                  <a:lnTo>
                    <a:pt x="913838" y="283914"/>
                  </a:lnTo>
                  <a:lnTo>
                    <a:pt x="913838" y="315331"/>
                  </a:lnTo>
                  <a:lnTo>
                    <a:pt x="896799" y="312136"/>
                  </a:lnTo>
                  <a:cubicBezTo>
                    <a:pt x="884552" y="315331"/>
                    <a:pt x="875500" y="321188"/>
                    <a:pt x="868577" y="329175"/>
                  </a:cubicBezTo>
                  <a:cubicBezTo>
                    <a:pt x="861655" y="337162"/>
                    <a:pt x="858460" y="345150"/>
                    <a:pt x="858460" y="355267"/>
                  </a:cubicBezTo>
                  <a:cubicBezTo>
                    <a:pt x="858460" y="368579"/>
                    <a:pt x="864317" y="378696"/>
                    <a:pt x="875500" y="387748"/>
                  </a:cubicBezTo>
                  <a:cubicBezTo>
                    <a:pt x="885617" y="395735"/>
                    <a:pt x="897864" y="399995"/>
                    <a:pt x="913838" y="401060"/>
                  </a:cubicBezTo>
                  <a:lnTo>
                    <a:pt x="913838" y="420229"/>
                  </a:lnTo>
                  <a:cubicBezTo>
                    <a:pt x="910643" y="420229"/>
                    <a:pt x="906916" y="420229"/>
                    <a:pt x="902656" y="420229"/>
                  </a:cubicBezTo>
                  <a:cubicBezTo>
                    <a:pt x="877629" y="420229"/>
                    <a:pt x="858993" y="415969"/>
                    <a:pt x="845148" y="405852"/>
                  </a:cubicBezTo>
                  <a:cubicBezTo>
                    <a:pt x="830771" y="395735"/>
                    <a:pt x="823849" y="382423"/>
                    <a:pt x="823849" y="364319"/>
                  </a:cubicBezTo>
                  <a:cubicBezTo>
                    <a:pt x="823849" y="351007"/>
                    <a:pt x="828109" y="338227"/>
                    <a:pt x="836096" y="329175"/>
                  </a:cubicBezTo>
                  <a:cubicBezTo>
                    <a:pt x="845148" y="319058"/>
                    <a:pt x="856330" y="312136"/>
                    <a:pt x="871240" y="310006"/>
                  </a:cubicBezTo>
                  <a:cubicBezTo>
                    <a:pt x="870175" y="306811"/>
                    <a:pt x="869110" y="303084"/>
                    <a:pt x="868045" y="299889"/>
                  </a:cubicBezTo>
                  <a:cubicBezTo>
                    <a:pt x="866980" y="296694"/>
                    <a:pt x="866980" y="292967"/>
                    <a:pt x="866980" y="289772"/>
                  </a:cubicBezTo>
                  <a:cubicBezTo>
                    <a:pt x="866980" y="285512"/>
                    <a:pt x="869110" y="278590"/>
                    <a:pt x="872837" y="271667"/>
                  </a:cubicBezTo>
                  <a:cubicBezTo>
                    <a:pt x="876032" y="264745"/>
                    <a:pt x="880824" y="257290"/>
                    <a:pt x="888812" y="249303"/>
                  </a:cubicBezTo>
                  <a:cubicBezTo>
                    <a:pt x="871772" y="245043"/>
                    <a:pt x="858460" y="237056"/>
                    <a:pt x="848343" y="225874"/>
                  </a:cubicBezTo>
                  <a:cubicBezTo>
                    <a:pt x="839291" y="213627"/>
                    <a:pt x="833966" y="199783"/>
                    <a:pt x="833966" y="183276"/>
                  </a:cubicBezTo>
                  <a:cubicBezTo>
                    <a:pt x="833966" y="161976"/>
                    <a:pt x="841953" y="143872"/>
                    <a:pt x="857395" y="130560"/>
                  </a:cubicBezTo>
                  <a:cubicBezTo>
                    <a:pt x="870175" y="117248"/>
                    <a:pt x="889344" y="110326"/>
                    <a:pt x="913306" y="110326"/>
                  </a:cubicBezTo>
                  <a:lnTo>
                    <a:pt x="913306" y="110326"/>
                  </a:lnTo>
                  <a:close/>
                  <a:moveTo>
                    <a:pt x="569856" y="325448"/>
                  </a:moveTo>
                  <a:lnTo>
                    <a:pt x="569856" y="309473"/>
                  </a:lnTo>
                  <a:lnTo>
                    <a:pt x="593285" y="307343"/>
                  </a:lnTo>
                  <a:lnTo>
                    <a:pt x="601272" y="299356"/>
                  </a:lnTo>
                  <a:lnTo>
                    <a:pt x="601272" y="141742"/>
                  </a:lnTo>
                  <a:lnTo>
                    <a:pt x="569856" y="141742"/>
                  </a:lnTo>
                  <a:lnTo>
                    <a:pt x="569856" y="127365"/>
                  </a:lnTo>
                  <a:lnTo>
                    <a:pt x="620442" y="112456"/>
                  </a:lnTo>
                  <a:lnTo>
                    <a:pt x="637481" y="112456"/>
                  </a:lnTo>
                  <a:lnTo>
                    <a:pt x="637481" y="135885"/>
                  </a:lnTo>
                  <a:cubicBezTo>
                    <a:pt x="654520" y="125768"/>
                    <a:pt x="668897" y="118846"/>
                    <a:pt x="680079" y="115651"/>
                  </a:cubicBezTo>
                  <a:cubicBezTo>
                    <a:pt x="690197" y="111391"/>
                    <a:pt x="699249" y="108729"/>
                    <a:pt x="708301" y="108729"/>
                  </a:cubicBezTo>
                  <a:cubicBezTo>
                    <a:pt x="727470" y="108729"/>
                    <a:pt x="741847" y="115651"/>
                    <a:pt x="751964" y="126833"/>
                  </a:cubicBezTo>
                  <a:cubicBezTo>
                    <a:pt x="762081" y="138015"/>
                    <a:pt x="766341" y="155054"/>
                    <a:pt x="766341" y="176354"/>
                  </a:cubicBezTo>
                  <a:lnTo>
                    <a:pt x="766341" y="298824"/>
                  </a:lnTo>
                  <a:lnTo>
                    <a:pt x="774328" y="306811"/>
                  </a:lnTo>
                  <a:lnTo>
                    <a:pt x="797757" y="308941"/>
                  </a:lnTo>
                  <a:lnTo>
                    <a:pt x="797757" y="324915"/>
                  </a:lnTo>
                  <a:lnTo>
                    <a:pt x="700846" y="324915"/>
                  </a:lnTo>
                  <a:lnTo>
                    <a:pt x="700846" y="308941"/>
                  </a:lnTo>
                  <a:lnTo>
                    <a:pt x="722145" y="306811"/>
                  </a:lnTo>
                  <a:lnTo>
                    <a:pt x="730133" y="298824"/>
                  </a:lnTo>
                  <a:lnTo>
                    <a:pt x="730133" y="182743"/>
                  </a:lnTo>
                  <a:cubicBezTo>
                    <a:pt x="730133" y="166769"/>
                    <a:pt x="726938" y="155587"/>
                    <a:pt x="720015" y="147599"/>
                  </a:cubicBezTo>
                  <a:cubicBezTo>
                    <a:pt x="713093" y="140677"/>
                    <a:pt x="701911" y="137482"/>
                    <a:pt x="684872" y="137482"/>
                  </a:cubicBezTo>
                  <a:cubicBezTo>
                    <a:pt x="677949" y="137482"/>
                    <a:pt x="671560" y="138547"/>
                    <a:pt x="662508" y="140677"/>
                  </a:cubicBezTo>
                  <a:cubicBezTo>
                    <a:pt x="654520" y="143872"/>
                    <a:pt x="645468" y="147599"/>
                    <a:pt x="636416" y="151859"/>
                  </a:cubicBezTo>
                  <a:lnTo>
                    <a:pt x="636416" y="298291"/>
                  </a:lnTo>
                  <a:lnTo>
                    <a:pt x="644403" y="306279"/>
                  </a:lnTo>
                  <a:lnTo>
                    <a:pt x="664637" y="308408"/>
                  </a:lnTo>
                  <a:lnTo>
                    <a:pt x="664637" y="324383"/>
                  </a:lnTo>
                  <a:lnTo>
                    <a:pt x="569856" y="324383"/>
                  </a:lnTo>
                  <a:lnTo>
                    <a:pt x="569856" y="325448"/>
                  </a:lnTo>
                  <a:close/>
                  <a:moveTo>
                    <a:pt x="501166" y="15012"/>
                  </a:moveTo>
                  <a:cubicBezTo>
                    <a:pt x="509153" y="15012"/>
                    <a:pt x="514478" y="17142"/>
                    <a:pt x="519270" y="22999"/>
                  </a:cubicBezTo>
                  <a:cubicBezTo>
                    <a:pt x="525128" y="27259"/>
                    <a:pt x="527258" y="33116"/>
                    <a:pt x="527258" y="41104"/>
                  </a:cubicBezTo>
                  <a:cubicBezTo>
                    <a:pt x="527258" y="48026"/>
                    <a:pt x="525128" y="53351"/>
                    <a:pt x="519270" y="58143"/>
                  </a:cubicBezTo>
                  <a:cubicBezTo>
                    <a:pt x="515011" y="64000"/>
                    <a:pt x="509153" y="66130"/>
                    <a:pt x="501166" y="66130"/>
                  </a:cubicBezTo>
                  <a:cubicBezTo>
                    <a:pt x="494244" y="66130"/>
                    <a:pt x="488919" y="64000"/>
                    <a:pt x="484127" y="58143"/>
                  </a:cubicBezTo>
                  <a:cubicBezTo>
                    <a:pt x="478270" y="53883"/>
                    <a:pt x="476140" y="48026"/>
                    <a:pt x="476140" y="41104"/>
                  </a:cubicBezTo>
                  <a:cubicBezTo>
                    <a:pt x="476140" y="33116"/>
                    <a:pt x="478270" y="27792"/>
                    <a:pt x="484127" y="22999"/>
                  </a:cubicBezTo>
                  <a:cubicBezTo>
                    <a:pt x="488919" y="17142"/>
                    <a:pt x="494244" y="15012"/>
                    <a:pt x="501166" y="15012"/>
                  </a:cubicBezTo>
                  <a:lnTo>
                    <a:pt x="501166" y="15012"/>
                  </a:lnTo>
                  <a:close/>
                  <a:moveTo>
                    <a:pt x="500101" y="112988"/>
                  </a:moveTo>
                  <a:lnTo>
                    <a:pt x="517141" y="112988"/>
                  </a:lnTo>
                  <a:lnTo>
                    <a:pt x="517141" y="299889"/>
                  </a:lnTo>
                  <a:lnTo>
                    <a:pt x="525128" y="307876"/>
                  </a:lnTo>
                  <a:lnTo>
                    <a:pt x="547492" y="310006"/>
                  </a:lnTo>
                  <a:lnTo>
                    <a:pt x="547492" y="325980"/>
                  </a:lnTo>
                  <a:lnTo>
                    <a:pt x="449516" y="325980"/>
                  </a:lnTo>
                  <a:lnTo>
                    <a:pt x="449516" y="310006"/>
                  </a:lnTo>
                  <a:lnTo>
                    <a:pt x="472945" y="307876"/>
                  </a:lnTo>
                  <a:lnTo>
                    <a:pt x="479867" y="299889"/>
                  </a:lnTo>
                  <a:lnTo>
                    <a:pt x="479867" y="142275"/>
                  </a:lnTo>
                  <a:lnTo>
                    <a:pt x="449516" y="142275"/>
                  </a:lnTo>
                  <a:lnTo>
                    <a:pt x="449516" y="127365"/>
                  </a:lnTo>
                  <a:lnTo>
                    <a:pt x="500101" y="112988"/>
                  </a:lnTo>
                  <a:lnTo>
                    <a:pt x="500101" y="112988"/>
                  </a:lnTo>
                  <a:close/>
                  <a:moveTo>
                    <a:pt x="410112" y="119378"/>
                  </a:moveTo>
                  <a:lnTo>
                    <a:pt x="410112" y="168899"/>
                  </a:lnTo>
                  <a:lnTo>
                    <a:pt x="388813" y="168899"/>
                  </a:lnTo>
                  <a:lnTo>
                    <a:pt x="384553" y="138547"/>
                  </a:lnTo>
                  <a:cubicBezTo>
                    <a:pt x="378696" y="135353"/>
                    <a:pt x="373371" y="132690"/>
                    <a:pt x="368579" y="130560"/>
                  </a:cubicBezTo>
                  <a:cubicBezTo>
                    <a:pt x="362721" y="129495"/>
                    <a:pt x="357397" y="128430"/>
                    <a:pt x="352604" y="128430"/>
                  </a:cubicBezTo>
                  <a:cubicBezTo>
                    <a:pt x="340357" y="128430"/>
                    <a:pt x="332370" y="131625"/>
                    <a:pt x="325448" y="137482"/>
                  </a:cubicBezTo>
                  <a:cubicBezTo>
                    <a:pt x="318526" y="143340"/>
                    <a:pt x="315331" y="149730"/>
                    <a:pt x="315331" y="159847"/>
                  </a:cubicBezTo>
                  <a:cubicBezTo>
                    <a:pt x="315331" y="168899"/>
                    <a:pt x="318526" y="175821"/>
                    <a:pt x="323318" y="181146"/>
                  </a:cubicBezTo>
                  <a:cubicBezTo>
                    <a:pt x="329175" y="187003"/>
                    <a:pt x="337695" y="192328"/>
                    <a:pt x="352604" y="200315"/>
                  </a:cubicBezTo>
                  <a:cubicBezTo>
                    <a:pt x="354734" y="201380"/>
                    <a:pt x="358462" y="202445"/>
                    <a:pt x="363786" y="204575"/>
                  </a:cubicBezTo>
                  <a:cubicBezTo>
                    <a:pt x="379761" y="212562"/>
                    <a:pt x="392008" y="218952"/>
                    <a:pt x="399995" y="224809"/>
                  </a:cubicBezTo>
                  <a:cubicBezTo>
                    <a:pt x="404255" y="229069"/>
                    <a:pt x="409047" y="234926"/>
                    <a:pt x="412242" y="241848"/>
                  </a:cubicBezTo>
                  <a:cubicBezTo>
                    <a:pt x="414372" y="247706"/>
                    <a:pt x="415437" y="255160"/>
                    <a:pt x="415437" y="263148"/>
                  </a:cubicBezTo>
                  <a:cubicBezTo>
                    <a:pt x="415437" y="283382"/>
                    <a:pt x="408515" y="299356"/>
                    <a:pt x="394138" y="311603"/>
                  </a:cubicBezTo>
                  <a:cubicBezTo>
                    <a:pt x="379761" y="322785"/>
                    <a:pt x="358994" y="328643"/>
                    <a:pt x="334500" y="328643"/>
                  </a:cubicBezTo>
                  <a:cubicBezTo>
                    <a:pt x="323318" y="328643"/>
                    <a:pt x="313201" y="327578"/>
                    <a:pt x="304149" y="326513"/>
                  </a:cubicBezTo>
                  <a:cubicBezTo>
                    <a:pt x="294031" y="325448"/>
                    <a:pt x="284979" y="323318"/>
                    <a:pt x="276992" y="319591"/>
                  </a:cubicBezTo>
                  <a:lnTo>
                    <a:pt x="276992" y="262083"/>
                  </a:lnTo>
                  <a:lnTo>
                    <a:pt x="298291" y="262083"/>
                  </a:lnTo>
                  <a:lnTo>
                    <a:pt x="302551" y="299356"/>
                  </a:lnTo>
                  <a:cubicBezTo>
                    <a:pt x="309473" y="303616"/>
                    <a:pt x="314798" y="306279"/>
                    <a:pt x="321720" y="307343"/>
                  </a:cubicBezTo>
                  <a:cubicBezTo>
                    <a:pt x="327578" y="309473"/>
                    <a:pt x="333967" y="310538"/>
                    <a:pt x="340890" y="310538"/>
                  </a:cubicBezTo>
                  <a:cubicBezTo>
                    <a:pt x="353137" y="310538"/>
                    <a:pt x="362189" y="307343"/>
                    <a:pt x="370176" y="300421"/>
                  </a:cubicBezTo>
                  <a:cubicBezTo>
                    <a:pt x="378163" y="293499"/>
                    <a:pt x="381358" y="285512"/>
                    <a:pt x="381358" y="274330"/>
                  </a:cubicBezTo>
                  <a:cubicBezTo>
                    <a:pt x="381358" y="265278"/>
                    <a:pt x="379228" y="258355"/>
                    <a:pt x="373371" y="253031"/>
                  </a:cubicBezTo>
                  <a:cubicBezTo>
                    <a:pt x="369111" y="247173"/>
                    <a:pt x="356332" y="239719"/>
                    <a:pt x="336097" y="230666"/>
                  </a:cubicBezTo>
                  <a:cubicBezTo>
                    <a:pt x="314798" y="221614"/>
                    <a:pt x="299889" y="211497"/>
                    <a:pt x="292434" y="203510"/>
                  </a:cubicBezTo>
                  <a:cubicBezTo>
                    <a:pt x="284447" y="194458"/>
                    <a:pt x="280187" y="183276"/>
                    <a:pt x="280187" y="171029"/>
                  </a:cubicBezTo>
                  <a:cubicBezTo>
                    <a:pt x="280187" y="151859"/>
                    <a:pt x="287109" y="135885"/>
                    <a:pt x="300421" y="125768"/>
                  </a:cubicBezTo>
                  <a:cubicBezTo>
                    <a:pt x="313733" y="114586"/>
                    <a:pt x="332902" y="108729"/>
                    <a:pt x="357929" y="108729"/>
                  </a:cubicBezTo>
                  <a:cubicBezTo>
                    <a:pt x="368046" y="108729"/>
                    <a:pt x="377098" y="109794"/>
                    <a:pt x="386150" y="111923"/>
                  </a:cubicBezTo>
                  <a:cubicBezTo>
                    <a:pt x="394138" y="114053"/>
                    <a:pt x="402125" y="116183"/>
                    <a:pt x="410112" y="119378"/>
                  </a:cubicBezTo>
                  <a:lnTo>
                    <a:pt x="410112" y="119378"/>
                  </a:lnTo>
                  <a:close/>
                  <a:moveTo>
                    <a:pt x="3297" y="31519"/>
                  </a:moveTo>
                  <a:lnTo>
                    <a:pt x="250901" y="31519"/>
                  </a:lnTo>
                  <a:lnTo>
                    <a:pt x="250901" y="98079"/>
                  </a:lnTo>
                  <a:lnTo>
                    <a:pt x="227471" y="98079"/>
                  </a:lnTo>
                  <a:lnTo>
                    <a:pt x="221614" y="57610"/>
                  </a:lnTo>
                  <a:lnTo>
                    <a:pt x="214692" y="50688"/>
                  </a:lnTo>
                  <a:lnTo>
                    <a:pt x="148132" y="50688"/>
                  </a:lnTo>
                  <a:lnTo>
                    <a:pt x="148132" y="298291"/>
                  </a:lnTo>
                  <a:lnTo>
                    <a:pt x="155054" y="305214"/>
                  </a:lnTo>
                  <a:lnTo>
                    <a:pt x="184341" y="307343"/>
                  </a:lnTo>
                  <a:lnTo>
                    <a:pt x="184341" y="325448"/>
                  </a:lnTo>
                  <a:lnTo>
                    <a:pt x="70390" y="325448"/>
                  </a:lnTo>
                  <a:lnTo>
                    <a:pt x="70390" y="307343"/>
                  </a:lnTo>
                  <a:lnTo>
                    <a:pt x="99676" y="305214"/>
                  </a:lnTo>
                  <a:lnTo>
                    <a:pt x="106598" y="298291"/>
                  </a:lnTo>
                  <a:lnTo>
                    <a:pt x="106598" y="50688"/>
                  </a:lnTo>
                  <a:lnTo>
                    <a:pt x="40039" y="50688"/>
                  </a:lnTo>
                  <a:lnTo>
                    <a:pt x="33116" y="57610"/>
                  </a:lnTo>
                  <a:lnTo>
                    <a:pt x="27259" y="98079"/>
                  </a:lnTo>
                  <a:lnTo>
                    <a:pt x="2233" y="98079"/>
                  </a:lnTo>
                  <a:lnTo>
                    <a:pt x="2233" y="31519"/>
                  </a:ln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微软雅黑" panose="020B0503020204020204" charset="-122"/>
                <a:cs typeface="+mn-cs"/>
              </a:endParaRPr>
            </a:p>
          </p:txBody>
        </p:sp>
        <p:pic>
          <p:nvPicPr>
            <p:cNvPr id="50" name="图片 4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685028" y="2913592"/>
              <a:ext cx="1584000" cy="1584000"/>
            </a:xfrm>
            <a:prstGeom prst="rect">
              <a:avLst/>
            </a:prstGeom>
          </p:spPr>
        </p:pic>
      </p:grpSp>
      <p:sp>
        <p:nvSpPr>
          <p:cNvPr id="27" name="任意多边形: 形状 26"/>
          <p:cNvSpPr/>
          <p:nvPr/>
        </p:nvSpPr>
        <p:spPr>
          <a:xfrm>
            <a:off x="-3788173" y="4952991"/>
            <a:ext cx="16805241" cy="3532144"/>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28" name="任意多边形: 形状 27"/>
          <p:cNvSpPr/>
          <p:nvPr/>
        </p:nvSpPr>
        <p:spPr>
          <a:xfrm>
            <a:off x="-1997473" y="5505441"/>
            <a:ext cx="16805241" cy="3532144"/>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rgbClr val="882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29" name="任意多边形: 形状 28"/>
          <p:cNvSpPr/>
          <p:nvPr/>
        </p:nvSpPr>
        <p:spPr>
          <a:xfrm>
            <a:off x="-9315449" y="5505441"/>
            <a:ext cx="24898350" cy="5233163"/>
          </a:xfrm>
          <a:custGeom>
            <a:avLst/>
            <a:gdLst>
              <a:gd name="connsiteX0" fmla="*/ 206773 w 16805241"/>
              <a:gd name="connsiteY0" fmla="*/ 914409 h 3532144"/>
              <a:gd name="connsiteX1" fmla="*/ 2949973 w 16805241"/>
              <a:gd name="connsiteY1" fmla="*/ 9 h 3532144"/>
              <a:gd name="connsiteX2" fmla="*/ 6569473 w 16805241"/>
              <a:gd name="connsiteY2" fmla="*/ 933459 h 3532144"/>
              <a:gd name="connsiteX3" fmla="*/ 9655573 w 16805241"/>
              <a:gd name="connsiteY3" fmla="*/ 95259 h 3532144"/>
              <a:gd name="connsiteX4" fmla="*/ 12627373 w 16805241"/>
              <a:gd name="connsiteY4" fmla="*/ 819159 h 3532144"/>
              <a:gd name="connsiteX5" fmla="*/ 15065773 w 16805241"/>
              <a:gd name="connsiteY5" fmla="*/ 228609 h 3532144"/>
              <a:gd name="connsiteX6" fmla="*/ 16799323 w 16805241"/>
              <a:gd name="connsiteY6" fmla="*/ 571509 h 3532144"/>
              <a:gd name="connsiteX7" fmla="*/ 15218173 w 16805241"/>
              <a:gd name="connsiteY7" fmla="*/ 3467109 h 3532144"/>
              <a:gd name="connsiteX8" fmla="*/ 7064773 w 16805241"/>
              <a:gd name="connsiteY8" fmla="*/ 2571759 h 3532144"/>
              <a:gd name="connsiteX9" fmla="*/ 987823 w 16805241"/>
              <a:gd name="connsiteY9" fmla="*/ 2381259 h 3532144"/>
              <a:gd name="connsiteX10" fmla="*/ 263923 w 16805241"/>
              <a:gd name="connsiteY10" fmla="*/ 895359 h 3532144"/>
              <a:gd name="connsiteX11" fmla="*/ 206773 w 16805241"/>
              <a:gd name="connsiteY11" fmla="*/ 819159 h 3532144"/>
              <a:gd name="connsiteX12" fmla="*/ 206773 w 16805241"/>
              <a:gd name="connsiteY12" fmla="*/ 914409 h 353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05241" h="3532144">
                <a:moveTo>
                  <a:pt x="206773" y="914409"/>
                </a:moveTo>
                <a:cubicBezTo>
                  <a:pt x="663973" y="777884"/>
                  <a:pt x="1889523" y="-3166"/>
                  <a:pt x="2949973" y="9"/>
                </a:cubicBezTo>
                <a:cubicBezTo>
                  <a:pt x="4010423" y="3184"/>
                  <a:pt x="5451873" y="917584"/>
                  <a:pt x="6569473" y="933459"/>
                </a:cubicBezTo>
                <a:cubicBezTo>
                  <a:pt x="7687073" y="949334"/>
                  <a:pt x="8645923" y="114309"/>
                  <a:pt x="9655573" y="95259"/>
                </a:cubicBezTo>
                <a:cubicBezTo>
                  <a:pt x="10665223" y="76209"/>
                  <a:pt x="11725673" y="796934"/>
                  <a:pt x="12627373" y="819159"/>
                </a:cubicBezTo>
                <a:cubicBezTo>
                  <a:pt x="13529073" y="841384"/>
                  <a:pt x="14370448" y="269884"/>
                  <a:pt x="15065773" y="228609"/>
                </a:cubicBezTo>
                <a:cubicBezTo>
                  <a:pt x="15761098" y="187334"/>
                  <a:pt x="16773923" y="31759"/>
                  <a:pt x="16799323" y="571509"/>
                </a:cubicBezTo>
                <a:cubicBezTo>
                  <a:pt x="16824723" y="1111259"/>
                  <a:pt x="16840598" y="3133734"/>
                  <a:pt x="15218173" y="3467109"/>
                </a:cubicBezTo>
                <a:cubicBezTo>
                  <a:pt x="13595748" y="3800484"/>
                  <a:pt x="9436498" y="2752734"/>
                  <a:pt x="7064773" y="2571759"/>
                </a:cubicBezTo>
                <a:cubicBezTo>
                  <a:pt x="4693048" y="2390784"/>
                  <a:pt x="2121298" y="2660659"/>
                  <a:pt x="987823" y="2381259"/>
                </a:cubicBezTo>
                <a:cubicBezTo>
                  <a:pt x="-145652" y="2101859"/>
                  <a:pt x="394098" y="1155709"/>
                  <a:pt x="263923" y="895359"/>
                </a:cubicBezTo>
                <a:cubicBezTo>
                  <a:pt x="133748" y="635009"/>
                  <a:pt x="222648" y="815984"/>
                  <a:pt x="206773" y="819159"/>
                </a:cubicBezTo>
                <a:cubicBezTo>
                  <a:pt x="190898" y="822334"/>
                  <a:pt x="-250427" y="1050934"/>
                  <a:pt x="206773" y="914409"/>
                </a:cubicBezTo>
                <a:close/>
              </a:path>
            </a:pathLst>
          </a:custGeom>
          <a:solidFill>
            <a:srgbClr val="580C6E">
              <a:alpha val="88000"/>
            </a:srgbClr>
          </a:solidFill>
          <a:ln>
            <a:solidFill>
              <a:srgbClr val="7038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3" name="灯片编号占位符 2">
            <a:extLst>
              <a:ext uri="{FF2B5EF4-FFF2-40B4-BE49-F238E27FC236}">
                <a16:creationId xmlns:a16="http://schemas.microsoft.com/office/drawing/2014/main" id="{374F6379-FEF5-4A90-A7B2-DCB8ABCDD7D8}"/>
              </a:ext>
            </a:extLst>
          </p:cNvPr>
          <p:cNvSpPr>
            <a:spLocks noGrp="1"/>
          </p:cNvSpPr>
          <p:nvPr>
            <p:ph type="sldNum" sz="quarter" idx="12"/>
          </p:nvPr>
        </p:nvSpPr>
        <p:spPr/>
        <p:txBody>
          <a:bodyPr/>
          <a:lstStyle/>
          <a:p>
            <a:fld id="{565CE74E-AB26-4998-AD42-012C4C1AD076}" type="slidenum">
              <a:rPr lang="zh-CN" altLang="en-US" smtClean="0"/>
              <a:t>26</a:t>
            </a:fld>
            <a:endParaRPr lang="zh-CN" altLang="en-US"/>
          </a:p>
        </p:txBody>
      </p:sp>
    </p:spTree>
    <p:custDataLst>
      <p:tags r:id="rId1"/>
    </p:custData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4344">
        <p159:morph option="byObject"/>
      </p:transition>
    </mc:Choice>
    <mc:Fallback xmlns="">
      <p:transition spd="slow" advTm="4344">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0-#ppt_w/2"/>
                                          </p:val>
                                        </p:tav>
                                        <p:tav tm="100000">
                                          <p:val>
                                            <p:strVal val="#ppt_x"/>
                                          </p:val>
                                        </p:tav>
                                      </p:tavLst>
                                    </p:anim>
                                    <p:anim calcmode="lin" valueType="num">
                                      <p:cBhvr additive="base">
                                        <p:cTn id="8" dur="500" fill="hold"/>
                                        <p:tgtEl>
                                          <p:spTgt spid="1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500" fill="hold"/>
                                        <p:tgtEl>
                                          <p:spTgt spid="20"/>
                                        </p:tgtEl>
                                        <p:attrNameLst>
                                          <p:attrName>ppt_x</p:attrName>
                                        </p:attrNameLst>
                                      </p:cBhvr>
                                      <p:tavLst>
                                        <p:tav tm="0">
                                          <p:val>
                                            <p:strVal val="1+#ppt_w/2"/>
                                          </p:val>
                                        </p:tav>
                                        <p:tav tm="100000">
                                          <p:val>
                                            <p:strVal val="#ppt_x"/>
                                          </p:val>
                                        </p:tav>
                                      </p:tavLst>
                                    </p:anim>
                                    <p:anim calcmode="lin" valueType="num">
                                      <p:cBhvr additive="base">
                                        <p:cTn id="12" dur="500" fill="hold"/>
                                        <p:tgtEl>
                                          <p:spTgt spid="20"/>
                                        </p:tgtEl>
                                        <p:attrNameLst>
                                          <p:attrName>ppt_y</p:attrName>
                                        </p:attrNameLst>
                                      </p:cBhvr>
                                      <p:tavLst>
                                        <p:tav tm="0">
                                          <p:val>
                                            <p:strVal val="#ppt_y"/>
                                          </p:val>
                                        </p:tav>
                                        <p:tav tm="100000">
                                          <p:val>
                                            <p:strVal val="#ppt_y"/>
                                          </p:val>
                                        </p:tav>
                                      </p:tavLst>
                                    </p:anim>
                                  </p:childTnLst>
                                </p:cTn>
                              </p:par>
                              <p:par>
                                <p:cTn id="13" presetID="42" presetClass="entr" presetSubtype="0" fill="hold"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1000"/>
                                        <p:tgtEl>
                                          <p:spTgt spid="54"/>
                                        </p:tgtEl>
                                      </p:cBhvr>
                                    </p:animEffect>
                                    <p:anim calcmode="lin" valueType="num">
                                      <p:cBhvr>
                                        <p:cTn id="16" dur="1000" fill="hold"/>
                                        <p:tgtEl>
                                          <p:spTgt spid="54"/>
                                        </p:tgtEl>
                                        <p:attrNameLst>
                                          <p:attrName>ppt_x</p:attrName>
                                        </p:attrNameLst>
                                      </p:cBhvr>
                                      <p:tavLst>
                                        <p:tav tm="0">
                                          <p:val>
                                            <p:strVal val="#ppt_x"/>
                                          </p:val>
                                        </p:tav>
                                        <p:tav tm="100000">
                                          <p:val>
                                            <p:strVal val="#ppt_x"/>
                                          </p:val>
                                        </p:tav>
                                      </p:tavLst>
                                    </p:anim>
                                    <p:anim calcmode="lin" valueType="num">
                                      <p:cBhvr>
                                        <p:cTn id="17" dur="1000" fill="hold"/>
                                        <p:tgtEl>
                                          <p:spTgt spid="54"/>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0"/>
                                  </p:stCondLst>
                                  <p:childTnLst>
                                    <p:set>
                                      <p:cBhvr>
                                        <p:cTn id="19" dur="1" fill="hold">
                                          <p:stCondLst>
                                            <p:cond delay="0"/>
                                          </p:stCondLst>
                                        </p:cTn>
                                        <p:tgtEl>
                                          <p:spTgt spid="53"/>
                                        </p:tgtEl>
                                        <p:attrNameLst>
                                          <p:attrName>style.visibility</p:attrName>
                                        </p:attrNameLst>
                                      </p:cBhvr>
                                      <p:to>
                                        <p:strVal val="visible"/>
                                      </p:to>
                                    </p:set>
                                    <p:animEffect transition="in" filter="fade">
                                      <p:cBhvr>
                                        <p:cTn id="20" dur="1000"/>
                                        <p:tgtEl>
                                          <p:spTgt spid="53"/>
                                        </p:tgtEl>
                                      </p:cBhvr>
                                    </p:animEffect>
                                    <p:anim calcmode="lin" valueType="num">
                                      <p:cBhvr>
                                        <p:cTn id="21" dur="1000" fill="hold"/>
                                        <p:tgtEl>
                                          <p:spTgt spid="53"/>
                                        </p:tgtEl>
                                        <p:attrNameLst>
                                          <p:attrName>ppt_x</p:attrName>
                                        </p:attrNameLst>
                                      </p:cBhvr>
                                      <p:tavLst>
                                        <p:tav tm="0">
                                          <p:val>
                                            <p:strVal val="#ppt_x"/>
                                          </p:val>
                                        </p:tav>
                                        <p:tav tm="100000">
                                          <p:val>
                                            <p:strVal val="#ppt_x"/>
                                          </p:val>
                                        </p:tav>
                                      </p:tavLst>
                                    </p:anim>
                                    <p:anim calcmode="lin" valueType="num">
                                      <p:cBhvr>
                                        <p:cTn id="22" dur="1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65334"/>
            <a:ext cx="12192000" cy="8831509"/>
          </a:xfrm>
          <a:prstGeom prst="rect">
            <a:avLst/>
          </a:prstGeom>
        </p:spPr>
      </p:pic>
      <p:sp>
        <p:nvSpPr>
          <p:cNvPr id="5" name="矩形 4"/>
          <p:cNvSpPr/>
          <p:nvPr/>
        </p:nvSpPr>
        <p:spPr>
          <a:xfrm>
            <a:off x="0" y="0"/>
            <a:ext cx="12192000" cy="7688943"/>
          </a:xfrm>
          <a:prstGeom prst="rect">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1" name="组合 20"/>
          <p:cNvGrpSpPr/>
          <p:nvPr/>
        </p:nvGrpSpPr>
        <p:grpSpPr>
          <a:xfrm>
            <a:off x="-2846530" y="-1770744"/>
            <a:ext cx="8399978" cy="7688943"/>
            <a:chOff x="-2846530" y="-1770744"/>
            <a:chExt cx="8399978" cy="7688943"/>
          </a:xfrm>
        </p:grpSpPr>
        <p:sp>
          <p:nvSpPr>
            <p:cNvPr id="2" name="椭圆 1"/>
            <p:cNvSpPr/>
            <p:nvPr/>
          </p:nvSpPr>
          <p:spPr>
            <a:xfrm>
              <a:off x="-2846530" y="-1770744"/>
              <a:ext cx="7688943" cy="7688943"/>
            </a:xfrm>
            <a:prstGeom prst="ellipse">
              <a:avLst/>
            </a:prstGeom>
            <a:gradFill>
              <a:gsLst>
                <a:gs pos="0">
                  <a:srgbClr val="703881"/>
                </a:gs>
                <a:gs pos="66000">
                  <a:srgbClr val="882959"/>
                </a:gs>
              </a:gsLst>
              <a:lin ang="5400000" scaled="1"/>
            </a:gradFill>
            <a:ln>
              <a:noFill/>
            </a:ln>
            <a:effectLst>
              <a:outerShdw blurRad="2794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5" name="文本框 14"/>
            <p:cNvSpPr txBox="1"/>
            <p:nvPr/>
          </p:nvSpPr>
          <p:spPr>
            <a:xfrm>
              <a:off x="-1214742" y="1161142"/>
              <a:ext cx="6768190" cy="37702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3900" b="0" i="0" u="none" strike="noStrike" kern="1200" cap="none" spc="0" normalizeH="0" baseline="0" noProof="0" dirty="0">
                  <a:ln>
                    <a:noFill/>
                  </a:ln>
                  <a:solidFill>
                    <a:prstClr val="white"/>
                  </a:solidFill>
                  <a:effectLst>
                    <a:outerShdw blurRad="63500" sx="101000" sy="101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rPr>
                <a:t>01</a:t>
              </a:r>
              <a:endParaRPr kumimoji="0" lang="zh-CN" altLang="en-US" sz="23900" b="0" i="0" u="none" strike="noStrike" kern="1200" cap="none" spc="0" normalizeH="0" baseline="0" noProof="0" dirty="0">
                <a:ln>
                  <a:noFill/>
                </a:ln>
                <a:solidFill>
                  <a:prstClr val="white"/>
                </a:solidFill>
                <a:effectLst>
                  <a:outerShdw blurRad="63500" sx="101000" sy="101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endParaRPr>
            </a:p>
          </p:txBody>
        </p:sp>
      </p:grpSp>
      <p:sp>
        <p:nvSpPr>
          <p:cNvPr id="19" name="圆: 空心 18"/>
          <p:cNvSpPr/>
          <p:nvPr/>
        </p:nvSpPr>
        <p:spPr>
          <a:xfrm>
            <a:off x="10808543" y="5670073"/>
            <a:ext cx="2766913" cy="2766913"/>
          </a:xfrm>
          <a:prstGeom prst="donut">
            <a:avLst/>
          </a:prstGeom>
          <a:gradFill>
            <a:gsLst>
              <a:gs pos="0">
                <a:srgbClr val="703881"/>
              </a:gs>
              <a:gs pos="66000">
                <a:srgbClr val="88295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6" name="灯片编号占位符 5">
            <a:extLst>
              <a:ext uri="{FF2B5EF4-FFF2-40B4-BE49-F238E27FC236}">
                <a16:creationId xmlns:a16="http://schemas.microsoft.com/office/drawing/2014/main" id="{D7E3EA81-27CA-453A-A6A1-F1EEA109047C}"/>
              </a:ext>
            </a:extLst>
          </p:cNvPr>
          <p:cNvSpPr>
            <a:spLocks noGrp="1"/>
          </p:cNvSpPr>
          <p:nvPr>
            <p:ph type="sldNum" sz="quarter" idx="12"/>
          </p:nvPr>
        </p:nvSpPr>
        <p:spPr/>
        <p:txBody>
          <a:bodyPr/>
          <a:lstStyle/>
          <a:p>
            <a:fld id="{565CE74E-AB26-4998-AD42-012C4C1AD076}" type="slidenum">
              <a:rPr lang="zh-CN" altLang="en-US" smtClean="0"/>
              <a:t>3</a:t>
            </a:fld>
            <a:endParaRPr lang="zh-CN" altLang="en-US"/>
          </a:p>
        </p:txBody>
      </p:sp>
      <p:grpSp>
        <p:nvGrpSpPr>
          <p:cNvPr id="13" name="组合 12">
            <a:extLst>
              <a:ext uri="{FF2B5EF4-FFF2-40B4-BE49-F238E27FC236}">
                <a16:creationId xmlns:a16="http://schemas.microsoft.com/office/drawing/2014/main" id="{14F313BF-234F-4BEA-9DDC-DF348E88B9FC}"/>
              </a:ext>
            </a:extLst>
          </p:cNvPr>
          <p:cNvGrpSpPr/>
          <p:nvPr/>
        </p:nvGrpSpPr>
        <p:grpSpPr>
          <a:xfrm>
            <a:off x="5140956" y="2474962"/>
            <a:ext cx="6477909" cy="1104149"/>
            <a:chOff x="5862081" y="2617371"/>
            <a:chExt cx="6477909" cy="1104149"/>
          </a:xfrm>
        </p:grpSpPr>
        <p:sp>
          <p:nvSpPr>
            <p:cNvPr id="14" name="文本框 13">
              <a:extLst>
                <a:ext uri="{FF2B5EF4-FFF2-40B4-BE49-F238E27FC236}">
                  <a16:creationId xmlns:a16="http://schemas.microsoft.com/office/drawing/2014/main" id="{1230E342-CF71-42FB-8873-8F13C7CC31A2}"/>
                </a:ext>
              </a:extLst>
            </p:cNvPr>
            <p:cNvSpPr txBox="1"/>
            <p:nvPr/>
          </p:nvSpPr>
          <p:spPr>
            <a:xfrm>
              <a:off x="5862082" y="2617371"/>
              <a:ext cx="6477908" cy="1015663"/>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lang="zh-CN" altLang="en-US" sz="6000" b="1" dirty="0">
                  <a:solidFill>
                    <a:prstClr val="black">
                      <a:lumMod val="75000"/>
                      <a:lumOff val="25000"/>
                    </a:prstClr>
                  </a:solidFill>
                  <a:latin typeface="思源黑体 CN Medium" panose="020B0600000000000000" pitchFamily="34" charset="-122"/>
                  <a:ea typeface="思源黑体 CN Medium" panose="020B0600000000000000" pitchFamily="34" charset="-122"/>
                </a:rPr>
                <a:t>选题与展示设计</a:t>
              </a:r>
              <a:r>
                <a:rPr kumimoji="0" lang="zh-CN" altLang="en-US" sz="6000" b="1"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 </a:t>
              </a:r>
            </a:p>
          </p:txBody>
        </p:sp>
        <p:sp>
          <p:nvSpPr>
            <p:cNvPr id="17" name="文本框 16">
              <a:extLst>
                <a:ext uri="{FF2B5EF4-FFF2-40B4-BE49-F238E27FC236}">
                  <a16:creationId xmlns:a16="http://schemas.microsoft.com/office/drawing/2014/main" id="{34C4237C-D642-4119-BCF5-2146E0517DB9}"/>
                </a:ext>
              </a:extLst>
            </p:cNvPr>
            <p:cNvSpPr txBox="1"/>
            <p:nvPr/>
          </p:nvSpPr>
          <p:spPr>
            <a:xfrm>
              <a:off x="5862081" y="3506076"/>
              <a:ext cx="6477909" cy="215444"/>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rPr>
                <a:t>Selection  and  presentation</a:t>
              </a:r>
              <a:endParaRPr kumimoji="0" lang="zh-CN" altLang="en-US" sz="8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p:txBody>
        </p:sp>
      </p:grpSp>
    </p:spTree>
    <p:custDataLst>
      <p:tags r:id="rId1"/>
    </p:custDataLst>
  </p:cSld>
  <p:clrMapOvr>
    <a:masterClrMapping/>
  </p:clrMapOvr>
  <p:transition spd="slow" advTm="242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1000"/>
                                        <p:tgtEl>
                                          <p:spTgt spid="19"/>
                                        </p:tgtEl>
                                      </p:cBhvr>
                                    </p:animEffect>
                                    <p:anim calcmode="lin" valueType="num">
                                      <p:cBhvr>
                                        <p:cTn id="13" dur="1000" fill="hold"/>
                                        <p:tgtEl>
                                          <p:spTgt spid="19"/>
                                        </p:tgtEl>
                                        <p:attrNameLst>
                                          <p:attrName>ppt_x</p:attrName>
                                        </p:attrNameLst>
                                      </p:cBhvr>
                                      <p:tavLst>
                                        <p:tav tm="0">
                                          <p:val>
                                            <p:strVal val="#ppt_x"/>
                                          </p:val>
                                        </p:tav>
                                        <p:tav tm="100000">
                                          <p:val>
                                            <p:strVal val="#ppt_x"/>
                                          </p:val>
                                        </p:tav>
                                      </p:tavLst>
                                    </p:anim>
                                    <p:anim calcmode="lin" valueType="num">
                                      <p:cBhvr>
                                        <p:cTn id="14" dur="1000" fill="hold"/>
                                        <p:tgtEl>
                                          <p:spTgt spid="19"/>
                                        </p:tgtEl>
                                        <p:attrNameLst>
                                          <p:attrName>ppt_y</p:attrName>
                                        </p:attrNameLst>
                                      </p:cBhvr>
                                      <p:tavLst>
                                        <p:tav tm="0">
                                          <p:val>
                                            <p:strVal val="#ppt_y+.1"/>
                                          </p:val>
                                        </p:tav>
                                        <p:tav tm="100000">
                                          <p:val>
                                            <p:strVal val="#ppt_y"/>
                                          </p:val>
                                        </p:tav>
                                      </p:tavLst>
                                    </p:anim>
                                  </p:childTnLst>
                                </p:cTn>
                              </p:par>
                              <p:par>
                                <p:cTn id="15" presetID="22" presetClass="entr" presetSubtype="8"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left)">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文本框 26">
            <a:extLst>
              <a:ext uri="{FF2B5EF4-FFF2-40B4-BE49-F238E27FC236}">
                <a16:creationId xmlns:a16="http://schemas.microsoft.com/office/drawing/2014/main" id="{BA941922-6692-6F5F-D9F5-2D6B8C15A7C2}"/>
              </a:ext>
            </a:extLst>
          </p:cNvPr>
          <p:cNvSpPr txBox="1"/>
          <p:nvPr/>
        </p:nvSpPr>
        <p:spPr>
          <a:xfrm>
            <a:off x="5037261" y="1439962"/>
            <a:ext cx="6290592" cy="1704954"/>
          </a:xfrm>
          <a:prstGeom prst="rect">
            <a:avLst/>
          </a:prstGeom>
          <a:noFill/>
        </p:spPr>
        <p:txBody>
          <a:bodyPr wrap="square">
            <a:spAutoFit/>
          </a:bodyPr>
          <a:lstStyle/>
          <a:p>
            <a:pPr marL="285750" indent="-285750">
              <a:lnSpc>
                <a:spcPct val="150000"/>
              </a:lnSpc>
              <a:buFont typeface="Arial" panose="020B0604020202020204" pitchFamily="34" charset="0"/>
              <a:buChar char="•"/>
              <a:defRPr/>
            </a:pPr>
            <a:r>
              <a:rPr lang="zh-CN" altLang="zh-CN" dirty="0"/>
              <a:t>名称</a:t>
            </a:r>
            <a:r>
              <a:rPr lang="zh-CN" altLang="en-US" dirty="0"/>
              <a:t>：</a:t>
            </a:r>
            <a:r>
              <a:rPr lang="en-US" altLang="zh-CN" dirty="0"/>
              <a:t>“Stellaris Rover”</a:t>
            </a:r>
          </a:p>
          <a:p>
            <a:pPr marL="285750" indent="-285750">
              <a:lnSpc>
                <a:spcPct val="150000"/>
              </a:lnSpc>
              <a:buFont typeface="Arial" panose="020B0604020202020204" pitchFamily="34" charset="0"/>
              <a:buChar char="•"/>
              <a:defRPr/>
            </a:pPr>
            <a:r>
              <a:rPr lang="zh-CN" altLang="zh-CN" dirty="0"/>
              <a:t>展现绕地卫星在公转过程中，调节卫星太阳能帆板角度，使得其发光效率更高的过程</a:t>
            </a:r>
            <a:endParaRPr lang="en-US" altLang="zh-CN" dirty="0"/>
          </a:p>
          <a:p>
            <a:pPr marL="285750" indent="-285750">
              <a:lnSpc>
                <a:spcPct val="150000"/>
              </a:lnSpc>
              <a:buFont typeface="Arial" panose="020B0604020202020204" pitchFamily="34" charset="0"/>
              <a:buChar char="•"/>
              <a:defRPr/>
            </a:pPr>
            <a:r>
              <a:rPr lang="zh-CN" altLang="zh-CN" dirty="0"/>
              <a:t>充分展现该技术的同时，将展示与互动充分结合</a:t>
            </a:r>
            <a:endParaRPr kumimoji="0" lang="zh-CN" altLang="en-US" sz="1800" b="0" i="0" u="none" strike="noStrike" kern="1200" cap="none" spc="0" normalizeH="0" baseline="0" noProof="0" dirty="0">
              <a:ln>
                <a:noFill/>
              </a:ln>
              <a:solidFill>
                <a:prstClr val="black"/>
              </a:solidFill>
              <a:effectLst/>
              <a:uLnTx/>
              <a:uFillTx/>
              <a:latin typeface="HelveticaExt-Normal"/>
              <a:ea typeface="OPPOSans M"/>
              <a:cs typeface="+mn-cs"/>
            </a:endParaRPr>
          </a:p>
        </p:txBody>
      </p:sp>
      <p:sp>
        <p:nvSpPr>
          <p:cNvPr id="40" name="矩形 39"/>
          <p:cNvSpPr/>
          <p:nvPr/>
        </p:nvSpPr>
        <p:spPr>
          <a:xfrm>
            <a:off x="0" y="0"/>
            <a:ext cx="4701591" cy="6858000"/>
          </a:xfrm>
          <a:prstGeom prst="rect">
            <a:avLst/>
          </a:prstGeom>
          <a:gradFill>
            <a:gsLst>
              <a:gs pos="17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11" name="文本框 10"/>
          <p:cNvSpPr txBox="1"/>
          <p:nvPr/>
        </p:nvSpPr>
        <p:spPr>
          <a:xfrm>
            <a:off x="5023732" y="1004431"/>
            <a:ext cx="6290592" cy="369332"/>
          </a:xfrm>
          <a:prstGeom prst="rect">
            <a:avLst/>
          </a:prstGeom>
          <a:noFill/>
        </p:spPr>
        <p:txBody>
          <a:bodyPr wrap="square">
            <a:spAutoFit/>
          </a:bodyPr>
          <a:lstStyle/>
          <a:p>
            <a:pPr>
              <a:defRPr/>
            </a:pPr>
            <a:r>
              <a:rPr kumimoji="0" lang="zh-CN" altLang="en-US" sz="1800" b="0" i="0" u="none" strike="noStrike" kern="1200" cap="none" spc="0" normalizeH="0" baseline="0" noProof="0" dirty="0">
                <a:ln>
                  <a:noFill/>
                </a:ln>
                <a:solidFill>
                  <a:prstClr val="black"/>
                </a:solidFill>
                <a:effectLst/>
                <a:uLnTx/>
                <a:uFillTx/>
                <a:latin typeface="HelveticaExt-Normal"/>
                <a:ea typeface="OPPOSans M"/>
                <a:cs typeface="+mn-cs"/>
              </a:rPr>
              <a:t>展 品 选 题：</a:t>
            </a:r>
          </a:p>
        </p:txBody>
      </p:sp>
      <p:cxnSp>
        <p:nvCxnSpPr>
          <p:cNvPr id="19" name="直接连接符 18"/>
          <p:cNvCxnSpPr/>
          <p:nvPr/>
        </p:nvCxnSpPr>
        <p:spPr>
          <a:xfrm>
            <a:off x="5037261" y="1380765"/>
            <a:ext cx="6474460"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52" name="组合 51"/>
          <p:cNvGrpSpPr>
            <a:grpSpLocks noChangeAspect="1"/>
          </p:cNvGrpSpPr>
          <p:nvPr/>
        </p:nvGrpSpPr>
        <p:grpSpPr>
          <a:xfrm>
            <a:off x="9993231" y="221203"/>
            <a:ext cx="2053964" cy="600680"/>
            <a:chOff x="2685028" y="2876682"/>
            <a:chExt cx="5502784" cy="1656004"/>
          </a:xfrm>
        </p:grpSpPr>
        <p:sp>
          <p:nvSpPr>
            <p:cNvPr id="59" name="i$ľïdê"/>
            <p:cNvSpPr/>
            <p:nvPr userDrawn="1"/>
          </p:nvSpPr>
          <p:spPr>
            <a:xfrm>
              <a:off x="4486927" y="2876682"/>
              <a:ext cx="3699559" cy="1174043"/>
            </a:xfrm>
            <a:custGeom>
              <a:avLst/>
              <a:gdLst>
                <a:gd name="connsiteX0" fmla="*/ 3528743 w 3812022"/>
                <a:gd name="connsiteY0" fmla="*/ 1166183 h 1325394"/>
                <a:gd name="connsiteX1" fmla="*/ 3537795 w 3812022"/>
                <a:gd name="connsiteY1" fmla="*/ 1178430 h 1325394"/>
                <a:gd name="connsiteX2" fmla="*/ 3528743 w 3812022"/>
                <a:gd name="connsiteY2" fmla="*/ 1258302 h 1325394"/>
                <a:gd name="connsiteX3" fmla="*/ 3234282 w 3812022"/>
                <a:gd name="connsiteY3" fmla="*/ 1082322 h 1325394"/>
                <a:gd name="connsiteX4" fmla="*/ 3234282 w 3812022"/>
                <a:gd name="connsiteY4" fmla="*/ 1163814 h 1325394"/>
                <a:gd name="connsiteX5" fmla="*/ 3194545 w 3812022"/>
                <a:gd name="connsiteY5" fmla="*/ 1145948 h 1325394"/>
                <a:gd name="connsiteX6" fmla="*/ 3179436 w 3812022"/>
                <a:gd name="connsiteY6" fmla="*/ 1110272 h 1325394"/>
                <a:gd name="connsiteX7" fmla="*/ 3429169 w 3812022"/>
                <a:gd name="connsiteY7" fmla="*/ 1002179 h 1325394"/>
                <a:gd name="connsiteX8" fmla="*/ 3528210 w 3812022"/>
                <a:gd name="connsiteY8" fmla="*/ 1004309 h 1325394"/>
                <a:gd name="connsiteX9" fmla="*/ 3528210 w 3812022"/>
                <a:gd name="connsiteY9" fmla="*/ 1113467 h 1325394"/>
                <a:gd name="connsiteX10" fmla="*/ 3528210 w 3812022"/>
                <a:gd name="connsiteY10" fmla="*/ 1166183 h 1325394"/>
                <a:gd name="connsiteX11" fmla="*/ 3528210 w 3812022"/>
                <a:gd name="connsiteY11" fmla="*/ 1258302 h 1325394"/>
                <a:gd name="connsiteX12" fmla="*/ 3467508 w 3812022"/>
                <a:gd name="connsiteY12" fmla="*/ 1325394 h 1325394"/>
                <a:gd name="connsiteX13" fmla="*/ 3260373 w 3812022"/>
                <a:gd name="connsiteY13" fmla="*/ 1211443 h 1325394"/>
                <a:gd name="connsiteX14" fmla="*/ 3440351 w 3812022"/>
                <a:gd name="connsiteY14" fmla="*/ 1243925 h 1325394"/>
                <a:gd name="connsiteX15" fmla="*/ 3440351 w 3812022"/>
                <a:gd name="connsiteY15" fmla="*/ 1117727 h 1325394"/>
                <a:gd name="connsiteX16" fmla="*/ 3310959 w 3812022"/>
                <a:gd name="connsiteY16" fmla="*/ 1173105 h 1325394"/>
                <a:gd name="connsiteX17" fmla="*/ 3234282 w 3812022"/>
                <a:gd name="connsiteY17" fmla="*/ 1164053 h 1325394"/>
                <a:gd name="connsiteX18" fmla="*/ 3234282 w 3812022"/>
                <a:gd name="connsiteY18" fmla="*/ 1163814 h 1325394"/>
                <a:gd name="connsiteX19" fmla="*/ 3234814 w 3812022"/>
                <a:gd name="connsiteY19" fmla="*/ 1164053 h 1325394"/>
                <a:gd name="connsiteX20" fmla="*/ 3234814 w 3812022"/>
                <a:gd name="connsiteY20" fmla="*/ 1082051 h 1325394"/>
                <a:gd name="connsiteX21" fmla="*/ 3234282 w 3812022"/>
                <a:gd name="connsiteY21" fmla="*/ 1082322 h 1325394"/>
                <a:gd name="connsiteX22" fmla="*/ 3234282 w 3812022"/>
                <a:gd name="connsiteY22" fmla="*/ 1082051 h 1325394"/>
                <a:gd name="connsiteX23" fmla="*/ 3391896 w 3812022"/>
                <a:gd name="connsiteY23" fmla="*/ 1031465 h 1325394"/>
                <a:gd name="connsiteX24" fmla="*/ 3429169 w 3812022"/>
                <a:gd name="connsiteY24" fmla="*/ 1002179 h 1325394"/>
                <a:gd name="connsiteX25" fmla="*/ 3580394 w 3812022"/>
                <a:gd name="connsiteY25" fmla="*/ 994192 h 1325394"/>
                <a:gd name="connsiteX26" fmla="*/ 3644824 w 3812022"/>
                <a:gd name="connsiteY26" fmla="*/ 1024543 h 1325394"/>
                <a:gd name="connsiteX27" fmla="*/ 3528743 w 3812022"/>
                <a:gd name="connsiteY27" fmla="*/ 1113467 h 1325394"/>
                <a:gd name="connsiteX28" fmla="*/ 3528743 w 3812022"/>
                <a:gd name="connsiteY28" fmla="*/ 1004309 h 1325394"/>
                <a:gd name="connsiteX29" fmla="*/ 3580394 w 3812022"/>
                <a:gd name="connsiteY29" fmla="*/ 994192 h 1325394"/>
                <a:gd name="connsiteX30" fmla="*/ 2529346 w 3812022"/>
                <a:gd name="connsiteY30" fmla="*/ 901606 h 1325394"/>
                <a:gd name="connsiteX31" fmla="*/ 2547916 w 3812022"/>
                <a:gd name="connsiteY31" fmla="*/ 909528 h 1325394"/>
                <a:gd name="connsiteX32" fmla="*/ 2608619 w 3812022"/>
                <a:gd name="connsiteY32" fmla="*/ 977152 h 1325394"/>
                <a:gd name="connsiteX33" fmla="*/ 2718842 w 3812022"/>
                <a:gd name="connsiteY33" fmla="*/ 1051700 h 1325394"/>
                <a:gd name="connsiteX34" fmla="*/ 2803506 w 3812022"/>
                <a:gd name="connsiteY34" fmla="*/ 1057557 h 1325394"/>
                <a:gd name="connsiteX35" fmla="*/ 2668256 w 3812022"/>
                <a:gd name="connsiteY35" fmla="*/ 1154468 h 1325394"/>
                <a:gd name="connsiteX36" fmla="*/ 2629918 w 3812022"/>
                <a:gd name="connsiteY36" fmla="*/ 1145416 h 1325394"/>
                <a:gd name="connsiteX37" fmla="*/ 2608619 w 3812022"/>
                <a:gd name="connsiteY37" fmla="*/ 1124649 h 1325394"/>
                <a:gd name="connsiteX38" fmla="*/ 2518629 w 3812022"/>
                <a:gd name="connsiteY38" fmla="*/ 951061 h 1325394"/>
                <a:gd name="connsiteX39" fmla="*/ 2517565 w 3812022"/>
                <a:gd name="connsiteY39" fmla="*/ 903670 h 1325394"/>
                <a:gd name="connsiteX40" fmla="*/ 2529346 w 3812022"/>
                <a:gd name="connsiteY40" fmla="*/ 901606 h 1325394"/>
                <a:gd name="connsiteX41" fmla="*/ 1595483 w 3812022"/>
                <a:gd name="connsiteY41" fmla="*/ 881273 h 1325394"/>
                <a:gd name="connsiteX42" fmla="*/ 1578801 w 3812022"/>
                <a:gd name="connsiteY42" fmla="*/ 881839 h 1325394"/>
                <a:gd name="connsiteX43" fmla="*/ 1563892 w 3812022"/>
                <a:gd name="connsiteY43" fmla="*/ 881839 h 1325394"/>
                <a:gd name="connsiteX44" fmla="*/ 1552710 w 3812022"/>
                <a:gd name="connsiteY44" fmla="*/ 890358 h 1325394"/>
                <a:gd name="connsiteX45" fmla="*/ 1529281 w 3812022"/>
                <a:gd name="connsiteY45" fmla="*/ 1001647 h 1325394"/>
                <a:gd name="connsiteX46" fmla="*/ 1552710 w 3812022"/>
                <a:gd name="connsiteY46" fmla="*/ 992595 h 1325394"/>
                <a:gd name="connsiteX47" fmla="*/ 1578801 w 3812022"/>
                <a:gd name="connsiteY47" fmla="*/ 977685 h 1325394"/>
                <a:gd name="connsiteX48" fmla="*/ 1630452 w 3812022"/>
                <a:gd name="connsiteY48" fmla="*/ 922307 h 1325394"/>
                <a:gd name="connsiteX49" fmla="*/ 1595483 w 3812022"/>
                <a:gd name="connsiteY49" fmla="*/ 881273 h 1325394"/>
                <a:gd name="connsiteX50" fmla="*/ 578273 w 3812022"/>
                <a:gd name="connsiteY50" fmla="*/ 855746 h 1325394"/>
                <a:gd name="connsiteX51" fmla="*/ 576143 w 3812022"/>
                <a:gd name="connsiteY51" fmla="*/ 870122 h 1325394"/>
                <a:gd name="connsiteX52" fmla="*/ 577208 w 3812022"/>
                <a:gd name="connsiteY52" fmla="*/ 885032 h 1325394"/>
                <a:gd name="connsiteX53" fmla="*/ 577208 w 3812022"/>
                <a:gd name="connsiteY53" fmla="*/ 899409 h 1325394"/>
                <a:gd name="connsiteX54" fmla="*/ 583065 w 3812022"/>
                <a:gd name="connsiteY54" fmla="*/ 911656 h 1325394"/>
                <a:gd name="connsiteX55" fmla="*/ 609157 w 3812022"/>
                <a:gd name="connsiteY55" fmla="*/ 921773 h 1325394"/>
                <a:gd name="connsiteX56" fmla="*/ 610222 w 3812022"/>
                <a:gd name="connsiteY56" fmla="*/ 922838 h 1325394"/>
                <a:gd name="connsiteX57" fmla="*/ 610222 w 3812022"/>
                <a:gd name="connsiteY57" fmla="*/ 869058 h 1325394"/>
                <a:gd name="connsiteX58" fmla="*/ 609157 w 3812022"/>
                <a:gd name="connsiteY58" fmla="*/ 866928 h 1325394"/>
                <a:gd name="connsiteX59" fmla="*/ 578273 w 3812022"/>
                <a:gd name="connsiteY59" fmla="*/ 855746 h 1325394"/>
                <a:gd name="connsiteX60" fmla="*/ 3589446 w 3812022"/>
                <a:gd name="connsiteY60" fmla="*/ 757771 h 1325394"/>
                <a:gd name="connsiteX61" fmla="*/ 3566017 w 3812022"/>
                <a:gd name="connsiteY61" fmla="*/ 760965 h 1325394"/>
                <a:gd name="connsiteX62" fmla="*/ 3528743 w 3812022"/>
                <a:gd name="connsiteY62" fmla="*/ 790252 h 1325394"/>
                <a:gd name="connsiteX63" fmla="*/ 3528743 w 3812022"/>
                <a:gd name="connsiteY63" fmla="*/ 790784 h 1325394"/>
                <a:gd name="connsiteX64" fmla="*/ 3469105 w 3812022"/>
                <a:gd name="connsiteY64" fmla="*/ 863734 h 1325394"/>
                <a:gd name="connsiteX65" fmla="*/ 3528743 w 3812022"/>
                <a:gd name="connsiteY65" fmla="*/ 824331 h 1325394"/>
                <a:gd name="connsiteX66" fmla="*/ 3589446 w 3812022"/>
                <a:gd name="connsiteY66" fmla="*/ 757771 h 1325394"/>
                <a:gd name="connsiteX67" fmla="*/ 600104 w 3812022"/>
                <a:gd name="connsiteY67" fmla="*/ 741795 h 1325394"/>
                <a:gd name="connsiteX68" fmla="*/ 601169 w 3812022"/>
                <a:gd name="connsiteY68" fmla="*/ 782796 h 1325394"/>
                <a:gd name="connsiteX69" fmla="*/ 609157 w 3812022"/>
                <a:gd name="connsiteY69" fmla="*/ 785991 h 1325394"/>
                <a:gd name="connsiteX70" fmla="*/ 616079 w 3812022"/>
                <a:gd name="connsiteY70" fmla="*/ 790250 h 1325394"/>
                <a:gd name="connsiteX71" fmla="*/ 620339 w 3812022"/>
                <a:gd name="connsiteY71" fmla="*/ 749782 h 1325394"/>
                <a:gd name="connsiteX72" fmla="*/ 609157 w 3812022"/>
                <a:gd name="connsiteY72" fmla="*/ 742860 h 1325394"/>
                <a:gd name="connsiteX73" fmla="*/ 600104 w 3812022"/>
                <a:gd name="connsiteY73" fmla="*/ 741795 h 1325394"/>
                <a:gd name="connsiteX74" fmla="*/ 3661538 w 3812022"/>
                <a:gd name="connsiteY74" fmla="*/ 687708 h 1325394"/>
                <a:gd name="connsiteX75" fmla="*/ 3722566 w 3812022"/>
                <a:gd name="connsiteY75" fmla="*/ 730614 h 1325394"/>
                <a:gd name="connsiteX76" fmla="*/ 3618732 w 3812022"/>
                <a:gd name="connsiteY76" fmla="*/ 834448 h 1325394"/>
                <a:gd name="connsiteX77" fmla="*/ 3528743 w 3812022"/>
                <a:gd name="connsiteY77" fmla="*/ 887163 h 1325394"/>
                <a:gd name="connsiteX78" fmla="*/ 3402545 w 3812022"/>
                <a:gd name="connsiteY78" fmla="*/ 978217 h 1325394"/>
                <a:gd name="connsiteX79" fmla="*/ 3385506 w 3812022"/>
                <a:gd name="connsiteY79" fmla="*/ 977152 h 1325394"/>
                <a:gd name="connsiteX80" fmla="*/ 3460053 w 3812022"/>
                <a:gd name="connsiteY80" fmla="*/ 875981 h 1325394"/>
                <a:gd name="connsiteX81" fmla="*/ 3455793 w 3812022"/>
                <a:gd name="connsiteY81" fmla="*/ 867994 h 1325394"/>
                <a:gd name="connsiteX82" fmla="*/ 3356752 w 3812022"/>
                <a:gd name="connsiteY82" fmla="*/ 919644 h 1325394"/>
                <a:gd name="connsiteX83" fmla="*/ 3263568 w 3812022"/>
                <a:gd name="connsiteY83" fmla="*/ 925502 h 1325394"/>
                <a:gd name="connsiteX84" fmla="*/ 3238542 w 3812022"/>
                <a:gd name="connsiteY84" fmla="*/ 916450 h 1325394"/>
                <a:gd name="connsiteX85" fmla="*/ 3249724 w 3812022"/>
                <a:gd name="connsiteY85" fmla="*/ 890358 h 1325394"/>
                <a:gd name="connsiteX86" fmla="*/ 3509574 w 3812022"/>
                <a:gd name="connsiteY86" fmla="*/ 757771 h 1325394"/>
                <a:gd name="connsiteX87" fmla="*/ 3528743 w 3812022"/>
                <a:gd name="connsiteY87" fmla="*/ 746588 h 1325394"/>
                <a:gd name="connsiteX88" fmla="*/ 3634706 w 3812022"/>
                <a:gd name="connsiteY88" fmla="*/ 690146 h 1325394"/>
                <a:gd name="connsiteX89" fmla="*/ 3661538 w 3812022"/>
                <a:gd name="connsiteY89" fmla="*/ 687708 h 1325394"/>
                <a:gd name="connsiteX90" fmla="*/ 3106487 w 3812022"/>
                <a:gd name="connsiteY90" fmla="*/ 648612 h 1325394"/>
                <a:gd name="connsiteX91" fmla="*/ 3233749 w 3812022"/>
                <a:gd name="connsiteY91" fmla="*/ 667781 h 1325394"/>
                <a:gd name="connsiteX92" fmla="*/ 3234814 w 3812022"/>
                <a:gd name="connsiteY92" fmla="*/ 665652 h 1325394"/>
                <a:gd name="connsiteX93" fmla="*/ 3234814 w 3812022"/>
                <a:gd name="connsiteY93" fmla="*/ 750848 h 1325394"/>
                <a:gd name="connsiteX94" fmla="*/ 3225762 w 3812022"/>
                <a:gd name="connsiteY94" fmla="*/ 789187 h 1325394"/>
                <a:gd name="connsiteX95" fmla="*/ 3208723 w 3812022"/>
                <a:gd name="connsiteY95" fmla="*/ 792382 h 1325394"/>
                <a:gd name="connsiteX96" fmla="*/ 3106487 w 3812022"/>
                <a:gd name="connsiteY96" fmla="*/ 661924 h 1325394"/>
                <a:gd name="connsiteX97" fmla="*/ 3106487 w 3812022"/>
                <a:gd name="connsiteY97" fmla="*/ 651807 h 1325394"/>
                <a:gd name="connsiteX98" fmla="*/ 3106487 w 3812022"/>
                <a:gd name="connsiteY98" fmla="*/ 648612 h 1325394"/>
                <a:gd name="connsiteX99" fmla="*/ 1575074 w 3812022"/>
                <a:gd name="connsiteY99" fmla="*/ 608144 h 1325394"/>
                <a:gd name="connsiteX100" fmla="*/ 1552710 w 3812022"/>
                <a:gd name="connsiteY100" fmla="*/ 616131 h 1325394"/>
                <a:gd name="connsiteX101" fmla="*/ 1527684 w 3812022"/>
                <a:gd name="connsiteY101" fmla="*/ 671509 h 1325394"/>
                <a:gd name="connsiteX102" fmla="*/ 1552710 w 3812022"/>
                <a:gd name="connsiteY102" fmla="*/ 655535 h 1325394"/>
                <a:gd name="connsiteX103" fmla="*/ 1575074 w 3812022"/>
                <a:gd name="connsiteY103" fmla="*/ 608144 h 1325394"/>
                <a:gd name="connsiteX104" fmla="*/ 2635775 w 3812022"/>
                <a:gd name="connsiteY104" fmla="*/ 472893 h 1325394"/>
                <a:gd name="connsiteX105" fmla="*/ 2689556 w 3812022"/>
                <a:gd name="connsiteY105" fmla="*/ 508037 h 1325394"/>
                <a:gd name="connsiteX106" fmla="*/ 2608619 w 3812022"/>
                <a:gd name="connsiteY106" fmla="*/ 661392 h 1325394"/>
                <a:gd name="connsiteX107" fmla="*/ 2608619 w 3812022"/>
                <a:gd name="connsiteY107" fmla="*/ 553830 h 1325394"/>
                <a:gd name="connsiteX108" fmla="*/ 2635775 w 3812022"/>
                <a:gd name="connsiteY108" fmla="*/ 472893 h 1325394"/>
                <a:gd name="connsiteX109" fmla="*/ 1655479 w 3812022"/>
                <a:gd name="connsiteY109" fmla="*/ 448932 h 1325394"/>
                <a:gd name="connsiteX110" fmla="*/ 1578801 w 3812022"/>
                <a:gd name="connsiteY110" fmla="*/ 495257 h 1325394"/>
                <a:gd name="connsiteX111" fmla="*/ 1552710 w 3812022"/>
                <a:gd name="connsiteY111" fmla="*/ 523480 h 1325394"/>
                <a:gd name="connsiteX112" fmla="*/ 1542061 w 3812022"/>
                <a:gd name="connsiteY112" fmla="*/ 562351 h 1325394"/>
                <a:gd name="connsiteX113" fmla="*/ 1552177 w 3812022"/>
                <a:gd name="connsiteY113" fmla="*/ 558091 h 1325394"/>
                <a:gd name="connsiteX114" fmla="*/ 1578269 w 3812022"/>
                <a:gd name="connsiteY114" fmla="*/ 545844 h 1325394"/>
                <a:gd name="connsiteX115" fmla="*/ 1642699 w 3812022"/>
                <a:gd name="connsiteY115" fmla="*/ 481413 h 1325394"/>
                <a:gd name="connsiteX116" fmla="*/ 1667726 w 3812022"/>
                <a:gd name="connsiteY116" fmla="*/ 461179 h 1325394"/>
                <a:gd name="connsiteX117" fmla="*/ 1666661 w 3812022"/>
                <a:gd name="connsiteY117" fmla="*/ 449997 h 1325394"/>
                <a:gd name="connsiteX118" fmla="*/ 1655479 w 3812022"/>
                <a:gd name="connsiteY118" fmla="*/ 448932 h 1325394"/>
                <a:gd name="connsiteX119" fmla="*/ 3171982 w 3812022"/>
                <a:gd name="connsiteY119" fmla="*/ 389826 h 1325394"/>
                <a:gd name="connsiteX120" fmla="*/ 3189021 w 3812022"/>
                <a:gd name="connsiteY120" fmla="*/ 403138 h 1325394"/>
                <a:gd name="connsiteX121" fmla="*/ 3234814 w 3812022"/>
                <a:gd name="connsiteY121" fmla="*/ 454789 h 1325394"/>
                <a:gd name="connsiteX122" fmla="*/ 3313621 w 3812022"/>
                <a:gd name="connsiteY122" fmla="*/ 520285 h 1325394"/>
                <a:gd name="connsiteX123" fmla="*/ 3234814 w 3812022"/>
                <a:gd name="connsiteY123" fmla="*/ 600156 h 1325394"/>
                <a:gd name="connsiteX124" fmla="*/ 3233749 w 3812022"/>
                <a:gd name="connsiteY124" fmla="*/ 600156 h 1325394"/>
                <a:gd name="connsiteX125" fmla="*/ 3230554 w 3812022"/>
                <a:gd name="connsiteY125" fmla="*/ 538389 h 1325394"/>
                <a:gd name="connsiteX126" fmla="*/ 3171982 w 3812022"/>
                <a:gd name="connsiteY126" fmla="*/ 389826 h 1325394"/>
                <a:gd name="connsiteX127" fmla="*/ 2558565 w 3812022"/>
                <a:gd name="connsiteY127" fmla="*/ 235940 h 1325394"/>
                <a:gd name="connsiteX128" fmla="*/ 2599034 w 3812022"/>
                <a:gd name="connsiteY128" fmla="*/ 279603 h 1325394"/>
                <a:gd name="connsiteX129" fmla="*/ 2550578 w 3812022"/>
                <a:gd name="connsiteY129" fmla="*/ 565545 h 1325394"/>
                <a:gd name="connsiteX130" fmla="*/ 2551643 w 3812022"/>
                <a:gd name="connsiteY130" fmla="*/ 586845 h 1325394"/>
                <a:gd name="connsiteX131" fmla="*/ 2608086 w 3812022"/>
                <a:gd name="connsiteY131" fmla="*/ 553298 h 1325394"/>
                <a:gd name="connsiteX132" fmla="*/ 2608086 w 3812022"/>
                <a:gd name="connsiteY132" fmla="*/ 660327 h 1325394"/>
                <a:gd name="connsiteX133" fmla="*/ 2497863 w 3812022"/>
                <a:gd name="connsiteY133" fmla="*/ 743394 h 1325394"/>
                <a:gd name="connsiteX134" fmla="*/ 2447277 w 3812022"/>
                <a:gd name="connsiteY134" fmla="*/ 890891 h 1325394"/>
                <a:gd name="connsiteX135" fmla="*/ 2113411 w 3812022"/>
                <a:gd name="connsiteY135" fmla="*/ 1193339 h 1325394"/>
                <a:gd name="connsiteX136" fmla="*/ 2110217 w 3812022"/>
                <a:gd name="connsiteY136" fmla="*/ 1183222 h 1325394"/>
                <a:gd name="connsiteX137" fmla="*/ 2114476 w 3812022"/>
                <a:gd name="connsiteY137" fmla="*/ 1174170 h 1325394"/>
                <a:gd name="connsiteX138" fmla="*/ 2394562 w 3812022"/>
                <a:gd name="connsiteY138" fmla="*/ 811551 h 1325394"/>
                <a:gd name="connsiteX139" fmla="*/ 2393497 w 3812022"/>
                <a:gd name="connsiteY139" fmla="*/ 801434 h 1325394"/>
                <a:gd name="connsiteX140" fmla="*/ 2250259 w 3812022"/>
                <a:gd name="connsiteY140" fmla="*/ 827526 h 1325394"/>
                <a:gd name="connsiteX141" fmla="*/ 2286467 w 3812022"/>
                <a:gd name="connsiteY141" fmla="*/ 748719 h 1325394"/>
                <a:gd name="connsiteX142" fmla="*/ 2433965 w 3812022"/>
                <a:gd name="connsiteY142" fmla="*/ 653937 h 1325394"/>
                <a:gd name="connsiteX143" fmla="*/ 2525019 w 3812022"/>
                <a:gd name="connsiteY143" fmla="*/ 300370 h 1325394"/>
                <a:gd name="connsiteX144" fmla="*/ 2558565 w 3812022"/>
                <a:gd name="connsiteY144" fmla="*/ 235940 h 1325394"/>
                <a:gd name="connsiteX145" fmla="*/ 3528210 w 3812022"/>
                <a:gd name="connsiteY145" fmla="*/ 194459 h 1325394"/>
                <a:gd name="connsiteX146" fmla="*/ 3528210 w 3812022"/>
                <a:gd name="connsiteY146" fmla="*/ 484076 h 1325394"/>
                <a:gd name="connsiteX147" fmla="*/ 3528743 w 3812022"/>
                <a:gd name="connsiteY147" fmla="*/ 483543 h 1325394"/>
                <a:gd name="connsiteX148" fmla="*/ 3528743 w 3812022"/>
                <a:gd name="connsiteY148" fmla="*/ 484076 h 1325394"/>
                <a:gd name="connsiteX149" fmla="*/ 3495197 w 3812022"/>
                <a:gd name="connsiteY149" fmla="*/ 562883 h 1325394"/>
                <a:gd name="connsiteX150" fmla="*/ 3517161 w 3812022"/>
                <a:gd name="connsiteY150" fmla="*/ 553165 h 1325394"/>
                <a:gd name="connsiteX151" fmla="*/ 3528210 w 3812022"/>
                <a:gd name="connsiteY151" fmla="*/ 540085 h 1325394"/>
                <a:gd name="connsiteX152" fmla="*/ 3528210 w 3812022"/>
                <a:gd name="connsiteY152" fmla="*/ 656599 h 1325394"/>
                <a:gd name="connsiteX153" fmla="*/ 3528743 w 3812022"/>
                <a:gd name="connsiteY153" fmla="*/ 656327 h 1325394"/>
                <a:gd name="connsiteX154" fmla="*/ 3528743 w 3812022"/>
                <a:gd name="connsiteY154" fmla="*/ 656599 h 1325394"/>
                <a:gd name="connsiteX155" fmla="*/ 3406273 w 3812022"/>
                <a:gd name="connsiteY155" fmla="*/ 719432 h 1325394"/>
                <a:gd name="connsiteX156" fmla="*/ 3403078 w 3812022"/>
                <a:gd name="connsiteY156" fmla="*/ 707185 h 1325394"/>
                <a:gd name="connsiteX157" fmla="*/ 3496262 w 3812022"/>
                <a:gd name="connsiteY157" fmla="*/ 620391 h 1325394"/>
                <a:gd name="connsiteX158" fmla="*/ 3394026 w 3812022"/>
                <a:gd name="connsiteY158" fmla="*/ 629443 h 1325394"/>
                <a:gd name="connsiteX159" fmla="*/ 3246529 w 3812022"/>
                <a:gd name="connsiteY159" fmla="*/ 710380 h 1325394"/>
                <a:gd name="connsiteX160" fmla="*/ 3235347 w 3812022"/>
                <a:gd name="connsiteY160" fmla="*/ 750848 h 1325394"/>
                <a:gd name="connsiteX161" fmla="*/ 3235347 w 3812022"/>
                <a:gd name="connsiteY161" fmla="*/ 665652 h 1325394"/>
                <a:gd name="connsiteX162" fmla="*/ 3367934 w 3812022"/>
                <a:gd name="connsiteY162" fmla="*/ 560753 h 1325394"/>
                <a:gd name="connsiteX163" fmla="*/ 3370064 w 3812022"/>
                <a:gd name="connsiteY163" fmla="*/ 524544 h 1325394"/>
                <a:gd name="connsiteX164" fmla="*/ 3419585 w 3812022"/>
                <a:gd name="connsiteY164" fmla="*/ 520285 h 1325394"/>
                <a:gd name="connsiteX165" fmla="*/ 3511704 w 3812022"/>
                <a:gd name="connsiteY165" fmla="*/ 329123 h 1325394"/>
                <a:gd name="connsiteX166" fmla="*/ 3411598 w 3812022"/>
                <a:gd name="connsiteY166" fmla="*/ 341370 h 1325394"/>
                <a:gd name="connsiteX167" fmla="*/ 3447806 w 3812022"/>
                <a:gd name="connsiteY167" fmla="*/ 282798 h 1325394"/>
                <a:gd name="connsiteX168" fmla="*/ 52315 w 3812022"/>
                <a:gd name="connsiteY168" fmla="*/ 184090 h 1325394"/>
                <a:gd name="connsiteX169" fmla="*/ 88391 w 3812022"/>
                <a:gd name="connsiteY169" fmla="*/ 188017 h 1325394"/>
                <a:gd name="connsiteX170" fmla="*/ 158146 w 3812022"/>
                <a:gd name="connsiteY170" fmla="*/ 272682 h 1325394"/>
                <a:gd name="connsiteX171" fmla="*/ 137912 w 3812022"/>
                <a:gd name="connsiteY171" fmla="*/ 296111 h 1325394"/>
                <a:gd name="connsiteX172" fmla="*/ 102768 w 3812022"/>
                <a:gd name="connsiteY172" fmla="*/ 308358 h 1325394"/>
                <a:gd name="connsiteX173" fmla="*/ 88391 w 3812022"/>
                <a:gd name="connsiteY173" fmla="*/ 309423 h 1325394"/>
                <a:gd name="connsiteX174" fmla="*/ 81469 w 3812022"/>
                <a:gd name="connsiteY174" fmla="*/ 309423 h 1325394"/>
                <a:gd name="connsiteX175" fmla="*/ 65494 w 3812022"/>
                <a:gd name="connsiteY175" fmla="*/ 299306 h 1325394"/>
                <a:gd name="connsiteX176" fmla="*/ 18636 w 3812022"/>
                <a:gd name="connsiteY176" fmla="*/ 186952 h 1325394"/>
                <a:gd name="connsiteX177" fmla="*/ 52315 w 3812022"/>
                <a:gd name="connsiteY177" fmla="*/ 184090 h 1325394"/>
                <a:gd name="connsiteX178" fmla="*/ 697548 w 3812022"/>
                <a:gd name="connsiteY178" fmla="*/ 95897 h 1325394"/>
                <a:gd name="connsiteX179" fmla="*/ 698613 w 3812022"/>
                <a:gd name="connsiteY179" fmla="*/ 166717 h 1325394"/>
                <a:gd name="connsiteX180" fmla="*/ 712990 w 3812022"/>
                <a:gd name="connsiteY180" fmla="*/ 157665 h 1325394"/>
                <a:gd name="connsiteX181" fmla="*/ 727367 w 3812022"/>
                <a:gd name="connsiteY181" fmla="*/ 144353 h 1325394"/>
                <a:gd name="connsiteX182" fmla="*/ 712990 w 3812022"/>
                <a:gd name="connsiteY182" fmla="*/ 99092 h 1325394"/>
                <a:gd name="connsiteX183" fmla="*/ 697548 w 3812022"/>
                <a:gd name="connsiteY183" fmla="*/ 95897 h 1325394"/>
                <a:gd name="connsiteX184" fmla="*/ 1785205 w 3812022"/>
                <a:gd name="connsiteY184" fmla="*/ 42774 h 1325394"/>
                <a:gd name="connsiteX185" fmla="*/ 1825341 w 3812022"/>
                <a:gd name="connsiteY185" fmla="*/ 84183 h 1325394"/>
                <a:gd name="connsiteX186" fmla="*/ 1779015 w 3812022"/>
                <a:gd name="connsiteY186" fmla="*/ 158730 h 1325394"/>
                <a:gd name="connsiteX187" fmla="*/ 1835458 w 3812022"/>
                <a:gd name="connsiteY187" fmla="*/ 118262 h 1325394"/>
                <a:gd name="connsiteX188" fmla="*/ 1895628 w 3812022"/>
                <a:gd name="connsiteY188" fmla="*/ 150211 h 1325394"/>
                <a:gd name="connsiteX189" fmla="*/ 1895628 w 3812022"/>
                <a:gd name="connsiteY189" fmla="*/ 158198 h 1325394"/>
                <a:gd name="connsiteX190" fmla="*/ 1873264 w 3812022"/>
                <a:gd name="connsiteY190" fmla="*/ 191744 h 1325394"/>
                <a:gd name="connsiteX191" fmla="*/ 1646959 w 3812022"/>
                <a:gd name="connsiteY191" fmla="*/ 304097 h 1325394"/>
                <a:gd name="connsiteX192" fmla="*/ 1578269 w 3812022"/>
                <a:gd name="connsiteY192" fmla="*/ 388761 h 1325394"/>
                <a:gd name="connsiteX193" fmla="*/ 1552177 w 3812022"/>
                <a:gd name="connsiteY193" fmla="*/ 408996 h 1325394"/>
                <a:gd name="connsiteX194" fmla="*/ 1536203 w 3812022"/>
                <a:gd name="connsiteY194" fmla="*/ 450529 h 1325394"/>
                <a:gd name="connsiteX195" fmla="*/ 1552177 w 3812022"/>
                <a:gd name="connsiteY195" fmla="*/ 446269 h 1325394"/>
                <a:gd name="connsiteX196" fmla="*/ 1578269 w 3812022"/>
                <a:gd name="connsiteY196" fmla="*/ 432957 h 1325394"/>
                <a:gd name="connsiteX197" fmla="*/ 1765170 w 3812022"/>
                <a:gd name="connsiteY197" fmla="*/ 431892 h 1325394"/>
                <a:gd name="connsiteX198" fmla="*/ 1742807 w 3812022"/>
                <a:gd name="connsiteY198" fmla="*/ 521882 h 1325394"/>
                <a:gd name="connsiteX199" fmla="*/ 1578269 w 3812022"/>
                <a:gd name="connsiteY199" fmla="*/ 711978 h 1325394"/>
                <a:gd name="connsiteX200" fmla="*/ 1552177 w 3812022"/>
                <a:gd name="connsiteY200" fmla="*/ 732212 h 1325394"/>
                <a:gd name="connsiteX201" fmla="*/ 1552177 w 3812022"/>
                <a:gd name="connsiteY201" fmla="*/ 744459 h 1325394"/>
                <a:gd name="connsiteX202" fmla="*/ 1578269 w 3812022"/>
                <a:gd name="connsiteY202" fmla="*/ 737537 h 1325394"/>
                <a:gd name="connsiteX203" fmla="*/ 1734819 w 3812022"/>
                <a:gd name="connsiteY203" fmla="*/ 654470 h 1325394"/>
                <a:gd name="connsiteX204" fmla="*/ 1767300 w 3812022"/>
                <a:gd name="connsiteY204" fmla="*/ 708250 h 1325394"/>
                <a:gd name="connsiteX205" fmla="*/ 1648024 w 3812022"/>
                <a:gd name="connsiteY205" fmla="*/ 823266 h 1325394"/>
                <a:gd name="connsiteX206" fmla="*/ 1726832 w 3812022"/>
                <a:gd name="connsiteY206" fmla="*/ 893021 h 1325394"/>
                <a:gd name="connsiteX207" fmla="*/ 1578269 w 3812022"/>
                <a:gd name="connsiteY207" fmla="*/ 1037323 h 1325394"/>
                <a:gd name="connsiteX208" fmla="*/ 1552177 w 3812022"/>
                <a:gd name="connsiteY208" fmla="*/ 1054362 h 1325394"/>
                <a:gd name="connsiteX209" fmla="*/ 1528749 w 3812022"/>
                <a:gd name="connsiteY209" fmla="*/ 1070337 h 1325394"/>
                <a:gd name="connsiteX210" fmla="*/ 1518631 w 3812022"/>
                <a:gd name="connsiteY210" fmla="*/ 1185352 h 1325394"/>
                <a:gd name="connsiteX211" fmla="*/ 1521826 w 3812022"/>
                <a:gd name="connsiteY211" fmla="*/ 1284393 h 1325394"/>
                <a:gd name="connsiteX212" fmla="*/ 1499462 w 3812022"/>
                <a:gd name="connsiteY212" fmla="*/ 1313680 h 1325394"/>
                <a:gd name="connsiteX213" fmla="*/ 1437694 w 3812022"/>
                <a:gd name="connsiteY213" fmla="*/ 1117727 h 1325394"/>
                <a:gd name="connsiteX214" fmla="*/ 1380187 w 3812022"/>
                <a:gd name="connsiteY214" fmla="*/ 1071402 h 1325394"/>
                <a:gd name="connsiteX215" fmla="*/ 1437694 w 3812022"/>
                <a:gd name="connsiteY215" fmla="*/ 1051167 h 1325394"/>
                <a:gd name="connsiteX216" fmla="*/ 1434500 w 3812022"/>
                <a:gd name="connsiteY216" fmla="*/ 916982 h 1325394"/>
                <a:gd name="connsiteX217" fmla="*/ 1285938 w 3812022"/>
                <a:gd name="connsiteY217" fmla="*/ 1011764 h 1325394"/>
                <a:gd name="connsiteX218" fmla="*/ 1167727 w 3812022"/>
                <a:gd name="connsiteY218" fmla="*/ 1035193 h 1325394"/>
                <a:gd name="connsiteX219" fmla="*/ 1169857 w 3812022"/>
                <a:gd name="connsiteY219" fmla="*/ 1024011 h 1325394"/>
                <a:gd name="connsiteX220" fmla="*/ 1422253 w 3812022"/>
                <a:gd name="connsiteY220" fmla="*/ 824863 h 1325394"/>
                <a:gd name="connsiteX221" fmla="*/ 1397226 w 3812022"/>
                <a:gd name="connsiteY221" fmla="*/ 814746 h 1325394"/>
                <a:gd name="connsiteX222" fmla="*/ 1397226 w 3812022"/>
                <a:gd name="connsiteY222" fmla="*/ 802499 h 1325394"/>
                <a:gd name="connsiteX223" fmla="*/ 1427577 w 3812022"/>
                <a:gd name="connsiteY223" fmla="*/ 779070 h 1325394"/>
                <a:gd name="connsiteX224" fmla="*/ 1435565 w 3812022"/>
                <a:gd name="connsiteY224" fmla="*/ 692276 h 1325394"/>
                <a:gd name="connsiteX225" fmla="*/ 1289133 w 3812022"/>
                <a:gd name="connsiteY225" fmla="*/ 782265 h 1325394"/>
                <a:gd name="connsiteX226" fmla="*/ 1153883 w 3812022"/>
                <a:gd name="connsiteY226" fmla="*/ 833916 h 1325394"/>
                <a:gd name="connsiteX227" fmla="*/ 1156013 w 3812022"/>
                <a:gd name="connsiteY227" fmla="*/ 808889 h 1325394"/>
                <a:gd name="connsiteX228" fmla="*/ 1263041 w 3812022"/>
                <a:gd name="connsiteY228" fmla="*/ 748186 h 1325394"/>
                <a:gd name="connsiteX229" fmla="*/ 1306704 w 3812022"/>
                <a:gd name="connsiteY229" fmla="*/ 656067 h 1325394"/>
                <a:gd name="connsiteX230" fmla="*/ 1323744 w 3812022"/>
                <a:gd name="connsiteY230" fmla="*/ 676302 h 1325394"/>
                <a:gd name="connsiteX231" fmla="*/ 1440889 w 3812022"/>
                <a:gd name="connsiteY231" fmla="*/ 435620 h 1325394"/>
                <a:gd name="connsiteX232" fmla="*/ 1523956 w 3812022"/>
                <a:gd name="connsiteY232" fmla="*/ 343501 h 1325394"/>
                <a:gd name="connsiteX233" fmla="*/ 1376459 w 3812022"/>
                <a:gd name="connsiteY233" fmla="*/ 458516 h 1325394"/>
                <a:gd name="connsiteX234" fmla="*/ 1348238 w 3812022"/>
                <a:gd name="connsiteY234" fmla="*/ 446269 h 1325394"/>
                <a:gd name="connsiteX235" fmla="*/ 1161337 w 3812022"/>
                <a:gd name="connsiteY235" fmla="*/ 469698 h 1325394"/>
                <a:gd name="connsiteX236" fmla="*/ 1161337 w 3812022"/>
                <a:gd name="connsiteY236" fmla="*/ 459581 h 1325394"/>
                <a:gd name="connsiteX237" fmla="*/ 1337056 w 3812022"/>
                <a:gd name="connsiteY237" fmla="*/ 376514 h 1325394"/>
                <a:gd name="connsiteX238" fmla="*/ 1363147 w 3812022"/>
                <a:gd name="connsiteY238" fmla="*/ 194406 h 1325394"/>
                <a:gd name="connsiteX239" fmla="*/ 1453136 w 3812022"/>
                <a:gd name="connsiteY239" fmla="*/ 312617 h 1325394"/>
                <a:gd name="connsiteX240" fmla="*/ 1552177 w 3812022"/>
                <a:gd name="connsiteY240" fmla="*/ 273213 h 1325394"/>
                <a:gd name="connsiteX241" fmla="*/ 1578269 w 3812022"/>
                <a:gd name="connsiteY241" fmla="*/ 263096 h 1325394"/>
                <a:gd name="connsiteX242" fmla="*/ 1596374 w 3812022"/>
                <a:gd name="connsiteY242" fmla="*/ 256174 h 1325394"/>
                <a:gd name="connsiteX243" fmla="*/ 1760911 w 3812022"/>
                <a:gd name="connsiteY243" fmla="*/ 45844 h 1325394"/>
                <a:gd name="connsiteX244" fmla="*/ 1785205 w 3812022"/>
                <a:gd name="connsiteY244" fmla="*/ 42774 h 1325394"/>
                <a:gd name="connsiteX245" fmla="*/ 677122 w 3812022"/>
                <a:gd name="connsiteY245" fmla="*/ 5334 h 1325394"/>
                <a:gd name="connsiteX246" fmla="*/ 708198 w 3812022"/>
                <a:gd name="connsiteY246" fmla="*/ 55428 h 1325394"/>
                <a:gd name="connsiteX247" fmla="*/ 712458 w 3812022"/>
                <a:gd name="connsiteY247" fmla="*/ 55428 h 1325394"/>
                <a:gd name="connsiteX248" fmla="*/ 836526 w 3812022"/>
                <a:gd name="connsiteY248" fmla="*/ 143288 h 1325394"/>
                <a:gd name="connsiteX249" fmla="*/ 712458 w 3812022"/>
                <a:gd name="connsiteY249" fmla="*/ 269485 h 1325394"/>
                <a:gd name="connsiteX250" fmla="*/ 690094 w 3812022"/>
                <a:gd name="connsiteY250" fmla="*/ 280667 h 1325394"/>
                <a:gd name="connsiteX251" fmla="*/ 668794 w 3812022"/>
                <a:gd name="connsiteY251" fmla="*/ 420177 h 1325394"/>
                <a:gd name="connsiteX252" fmla="*/ 666664 w 3812022"/>
                <a:gd name="connsiteY252" fmla="*/ 435086 h 1325394"/>
                <a:gd name="connsiteX253" fmla="*/ 662405 w 3812022"/>
                <a:gd name="connsiteY253" fmla="*/ 440944 h 1325394"/>
                <a:gd name="connsiteX254" fmla="*/ 608624 w 3812022"/>
                <a:gd name="connsiteY254" fmla="*/ 524011 h 1325394"/>
                <a:gd name="connsiteX255" fmla="*/ 579338 w 3812022"/>
                <a:gd name="connsiteY255" fmla="*/ 591636 h 1325394"/>
                <a:gd name="connsiteX256" fmla="*/ 608624 w 3812022"/>
                <a:gd name="connsiteY256" fmla="*/ 570336 h 1325394"/>
                <a:gd name="connsiteX257" fmla="*/ 712458 w 3812022"/>
                <a:gd name="connsiteY257" fmla="*/ 512829 h 1325394"/>
                <a:gd name="connsiteX258" fmla="*/ 716718 w 3812022"/>
                <a:gd name="connsiteY258" fmla="*/ 511764 h 1325394"/>
                <a:gd name="connsiteX259" fmla="*/ 712458 w 3812022"/>
                <a:gd name="connsiteY259" fmla="*/ 579389 h 1325394"/>
                <a:gd name="connsiteX260" fmla="*/ 660807 w 3812022"/>
                <a:gd name="connsiteY260" fmla="*/ 645949 h 1325394"/>
                <a:gd name="connsiteX261" fmla="*/ 704471 w 3812022"/>
                <a:gd name="connsiteY261" fmla="*/ 713573 h 1325394"/>
                <a:gd name="connsiteX262" fmla="*/ 710328 w 3812022"/>
                <a:gd name="connsiteY262" fmla="*/ 1175233 h 1325394"/>
                <a:gd name="connsiteX263" fmla="*/ 625663 w 3812022"/>
                <a:gd name="connsiteY263" fmla="*/ 1217832 h 1325394"/>
                <a:gd name="connsiteX264" fmla="*/ 608624 w 3812022"/>
                <a:gd name="connsiteY264" fmla="*/ 1200792 h 1325394"/>
                <a:gd name="connsiteX265" fmla="*/ 561233 w 3812022"/>
                <a:gd name="connsiteY265" fmla="*/ 1090569 h 1325394"/>
                <a:gd name="connsiteX266" fmla="*/ 608624 w 3812022"/>
                <a:gd name="connsiteY266" fmla="*/ 1105479 h 1325394"/>
                <a:gd name="connsiteX267" fmla="*/ 610754 w 3812022"/>
                <a:gd name="connsiteY267" fmla="*/ 1105479 h 1325394"/>
                <a:gd name="connsiteX268" fmla="*/ 608624 w 3812022"/>
                <a:gd name="connsiteY268" fmla="*/ 1008567 h 1325394"/>
                <a:gd name="connsiteX269" fmla="*/ 606494 w 3812022"/>
                <a:gd name="connsiteY269" fmla="*/ 1005372 h 1325394"/>
                <a:gd name="connsiteX270" fmla="*/ 555909 w 3812022"/>
                <a:gd name="connsiteY270" fmla="*/ 972891 h 1325394"/>
                <a:gd name="connsiteX271" fmla="*/ 543662 w 3812022"/>
                <a:gd name="connsiteY271" fmla="*/ 973956 h 1325394"/>
                <a:gd name="connsiteX272" fmla="*/ 518635 w 3812022"/>
                <a:gd name="connsiteY272" fmla="*/ 1072997 h 1325394"/>
                <a:gd name="connsiteX273" fmla="*/ 449945 w 3812022"/>
                <a:gd name="connsiteY273" fmla="*/ 1246586 h 1325394"/>
                <a:gd name="connsiteX274" fmla="*/ 419594 w 3812022"/>
                <a:gd name="connsiteY274" fmla="*/ 1188013 h 1325394"/>
                <a:gd name="connsiteX275" fmla="*/ 500531 w 3812022"/>
                <a:gd name="connsiteY275" fmla="*/ 866928 h 1325394"/>
                <a:gd name="connsiteX276" fmla="*/ 542064 w 3812022"/>
                <a:gd name="connsiteY276" fmla="*/ 734340 h 1325394"/>
                <a:gd name="connsiteX277" fmla="*/ 438230 w 3812022"/>
                <a:gd name="connsiteY277" fmla="*/ 730080 h 1325394"/>
                <a:gd name="connsiteX278" fmla="*/ 439296 w 3812022"/>
                <a:gd name="connsiteY278" fmla="*/ 709846 h 1325394"/>
                <a:gd name="connsiteX279" fmla="*/ 487751 w 3812022"/>
                <a:gd name="connsiteY279" fmla="*/ 504841 h 1325394"/>
                <a:gd name="connsiteX280" fmla="*/ 494673 w 3812022"/>
                <a:gd name="connsiteY280" fmla="*/ 487802 h 1325394"/>
                <a:gd name="connsiteX281" fmla="*/ 520765 w 3812022"/>
                <a:gd name="connsiteY281" fmla="*/ 410060 h 1325394"/>
                <a:gd name="connsiteX282" fmla="*/ 410542 w 3812022"/>
                <a:gd name="connsiteY282" fmla="*/ 492062 h 1325394"/>
                <a:gd name="connsiteX283" fmla="*/ 317358 w 3812022"/>
                <a:gd name="connsiteY283" fmla="*/ 562882 h 1325394"/>
                <a:gd name="connsiteX284" fmla="*/ 217251 w 3812022"/>
                <a:gd name="connsiteY284" fmla="*/ 666715 h 1325394"/>
                <a:gd name="connsiteX285" fmla="*/ 155484 w 3812022"/>
                <a:gd name="connsiteY285" fmla="*/ 1054893 h 1325394"/>
                <a:gd name="connsiteX286" fmla="*/ 136314 w 3812022"/>
                <a:gd name="connsiteY286" fmla="*/ 1180026 h 1325394"/>
                <a:gd name="connsiteX287" fmla="*/ 100106 w 3812022"/>
                <a:gd name="connsiteY287" fmla="*/ 1312613 h 1325394"/>
                <a:gd name="connsiteX288" fmla="*/ 87859 w 3812022"/>
                <a:gd name="connsiteY288" fmla="*/ 1305691 h 1325394"/>
                <a:gd name="connsiteX289" fmla="*/ 21299 w 3812022"/>
                <a:gd name="connsiteY289" fmla="*/ 1256170 h 1325394"/>
                <a:gd name="connsiteX290" fmla="*/ 1064 w 3812022"/>
                <a:gd name="connsiteY290" fmla="*/ 1121985 h 1325394"/>
                <a:gd name="connsiteX291" fmla="*/ 2129 w 3812022"/>
                <a:gd name="connsiteY291" fmla="*/ 1009632 h 1325394"/>
                <a:gd name="connsiteX292" fmla="*/ 6389 w 3812022"/>
                <a:gd name="connsiteY292" fmla="*/ 796640 h 1325394"/>
                <a:gd name="connsiteX293" fmla="*/ 4259 w 3812022"/>
                <a:gd name="connsiteY293" fmla="*/ 718898 h 1325394"/>
                <a:gd name="connsiteX294" fmla="*/ 0 w 3812022"/>
                <a:gd name="connsiteY294" fmla="*/ 639026 h 1325394"/>
                <a:gd name="connsiteX295" fmla="*/ 0 w 3812022"/>
                <a:gd name="connsiteY295" fmla="*/ 632104 h 1325394"/>
                <a:gd name="connsiteX296" fmla="*/ 65495 w 3812022"/>
                <a:gd name="connsiteY296" fmla="*/ 504841 h 1325394"/>
                <a:gd name="connsiteX297" fmla="*/ 87859 w 3812022"/>
                <a:gd name="connsiteY297" fmla="*/ 536258 h 1325394"/>
                <a:gd name="connsiteX298" fmla="*/ 116080 w 3812022"/>
                <a:gd name="connsiteY298" fmla="*/ 617195 h 1325394"/>
                <a:gd name="connsiteX299" fmla="*/ 144302 w 3812022"/>
                <a:gd name="connsiteY299" fmla="*/ 775874 h 1325394"/>
                <a:gd name="connsiteX300" fmla="*/ 165601 w 3812022"/>
                <a:gd name="connsiteY300" fmla="*/ 702924 h 1325394"/>
                <a:gd name="connsiteX301" fmla="*/ 223109 w 3812022"/>
                <a:gd name="connsiteY301" fmla="*/ 498984 h 1325394"/>
                <a:gd name="connsiteX302" fmla="*/ 339189 w 3812022"/>
                <a:gd name="connsiteY302" fmla="*/ 424437 h 1325394"/>
                <a:gd name="connsiteX303" fmla="*/ 536207 w 3812022"/>
                <a:gd name="connsiteY303" fmla="*/ 310486 h 1325394"/>
                <a:gd name="connsiteX304" fmla="*/ 609157 w 3812022"/>
                <a:gd name="connsiteY304" fmla="*/ 91105 h 1325394"/>
                <a:gd name="connsiteX305" fmla="*/ 656547 w 3812022"/>
                <a:gd name="connsiteY305" fmla="*/ 8038 h 1325394"/>
                <a:gd name="connsiteX306" fmla="*/ 677122 w 3812022"/>
                <a:gd name="connsiteY306" fmla="*/ 5334 h 1325394"/>
                <a:gd name="connsiteX307" fmla="*/ 3645157 w 3812022"/>
                <a:gd name="connsiteY307" fmla="*/ 983 h 1325394"/>
                <a:gd name="connsiteX308" fmla="*/ 3704994 w 3812022"/>
                <a:gd name="connsiteY308" fmla="*/ 31467 h 1325394"/>
                <a:gd name="connsiteX309" fmla="*/ 3640564 w 3812022"/>
                <a:gd name="connsiteY309" fmla="*/ 159795 h 1325394"/>
                <a:gd name="connsiteX310" fmla="*/ 3543652 w 3812022"/>
                <a:gd name="connsiteY310" fmla="*/ 268953 h 1325394"/>
                <a:gd name="connsiteX311" fmla="*/ 3544718 w 3812022"/>
                <a:gd name="connsiteY311" fmla="*/ 279070 h 1325394"/>
                <a:gd name="connsiteX312" fmla="*/ 3621394 w 3812022"/>
                <a:gd name="connsiteY312" fmla="*/ 334448 h 1325394"/>
                <a:gd name="connsiteX313" fmla="*/ 3587849 w 3812022"/>
                <a:gd name="connsiteY313" fmla="*/ 419112 h 1325394"/>
                <a:gd name="connsiteX314" fmla="*/ 3812022 w 3812022"/>
                <a:gd name="connsiteY314" fmla="*/ 414853 h 1325394"/>
                <a:gd name="connsiteX315" fmla="*/ 3812022 w 3812022"/>
                <a:gd name="connsiteY315" fmla="*/ 421242 h 1325394"/>
                <a:gd name="connsiteX316" fmla="*/ 3812022 w 3812022"/>
                <a:gd name="connsiteY316" fmla="*/ 443606 h 1325394"/>
                <a:gd name="connsiteX317" fmla="*/ 3680500 w 3812022"/>
                <a:gd name="connsiteY317" fmla="*/ 594299 h 1325394"/>
                <a:gd name="connsiteX318" fmla="*/ 3654409 w 3812022"/>
                <a:gd name="connsiteY318" fmla="*/ 611339 h 1325394"/>
                <a:gd name="connsiteX319" fmla="*/ 3588713 w 3812022"/>
                <a:gd name="connsiteY319" fmla="*/ 625782 h 1325394"/>
                <a:gd name="connsiteX320" fmla="*/ 3528743 w 3812022"/>
                <a:gd name="connsiteY320" fmla="*/ 656327 h 1325394"/>
                <a:gd name="connsiteX321" fmla="*/ 3528743 w 3812022"/>
                <a:gd name="connsiteY321" fmla="*/ 539454 h 1325394"/>
                <a:gd name="connsiteX322" fmla="*/ 3528210 w 3812022"/>
                <a:gd name="connsiteY322" fmla="*/ 540085 h 1325394"/>
                <a:gd name="connsiteX323" fmla="*/ 3528210 w 3812022"/>
                <a:gd name="connsiteY323" fmla="*/ 539454 h 1325394"/>
                <a:gd name="connsiteX324" fmla="*/ 3607018 w 3812022"/>
                <a:gd name="connsiteY324" fmla="*/ 543714 h 1325394"/>
                <a:gd name="connsiteX325" fmla="*/ 3715111 w 3812022"/>
                <a:gd name="connsiteY325" fmla="*/ 446801 h 1325394"/>
                <a:gd name="connsiteX326" fmla="*/ 3537263 w 3812022"/>
                <a:gd name="connsiteY326" fmla="*/ 475024 h 1325394"/>
                <a:gd name="connsiteX327" fmla="*/ 3528743 w 3812022"/>
                <a:gd name="connsiteY327" fmla="*/ 483543 h 1325394"/>
                <a:gd name="connsiteX328" fmla="*/ 3528743 w 3812022"/>
                <a:gd name="connsiteY328" fmla="*/ 193873 h 1325394"/>
                <a:gd name="connsiteX329" fmla="*/ 3528210 w 3812022"/>
                <a:gd name="connsiteY329" fmla="*/ 194459 h 1325394"/>
                <a:gd name="connsiteX330" fmla="*/ 3528210 w 3812022"/>
                <a:gd name="connsiteY330" fmla="*/ 193873 h 1325394"/>
                <a:gd name="connsiteX331" fmla="*/ 3608082 w 3812022"/>
                <a:gd name="connsiteY331" fmla="*/ 30402 h 1325394"/>
                <a:gd name="connsiteX332" fmla="*/ 3645157 w 3812022"/>
                <a:gd name="connsiteY332" fmla="*/ 983 h 132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Lst>
              <a:rect l="l" t="t" r="r" b="b"/>
              <a:pathLst>
                <a:path w="3812022" h="1325394">
                  <a:moveTo>
                    <a:pt x="3528743" y="1166183"/>
                  </a:moveTo>
                  <a:cubicBezTo>
                    <a:pt x="3531938" y="1169377"/>
                    <a:pt x="3534601" y="1174170"/>
                    <a:pt x="3537795" y="1178430"/>
                  </a:cubicBezTo>
                  <a:cubicBezTo>
                    <a:pt x="3538860" y="1199729"/>
                    <a:pt x="3537795" y="1230080"/>
                    <a:pt x="3528743" y="1258302"/>
                  </a:cubicBezTo>
                  <a:close/>
                  <a:moveTo>
                    <a:pt x="3234282" y="1082322"/>
                  </a:moveTo>
                  <a:lnTo>
                    <a:pt x="3234282" y="1163814"/>
                  </a:lnTo>
                  <a:lnTo>
                    <a:pt x="3194545" y="1145948"/>
                  </a:lnTo>
                  <a:cubicBezTo>
                    <a:pt x="3184361" y="1137428"/>
                    <a:pt x="3178371" y="1125980"/>
                    <a:pt x="3179436" y="1110272"/>
                  </a:cubicBezTo>
                  <a:close/>
                  <a:moveTo>
                    <a:pt x="3429169" y="1002179"/>
                  </a:moveTo>
                  <a:cubicBezTo>
                    <a:pt x="3447274" y="1016556"/>
                    <a:pt x="3489872" y="1011231"/>
                    <a:pt x="3528210" y="1004309"/>
                  </a:cubicBezTo>
                  <a:lnTo>
                    <a:pt x="3528210" y="1113467"/>
                  </a:lnTo>
                  <a:cubicBezTo>
                    <a:pt x="3515964" y="1125714"/>
                    <a:pt x="3513834" y="1141688"/>
                    <a:pt x="3528210" y="1166183"/>
                  </a:cubicBezTo>
                  <a:lnTo>
                    <a:pt x="3528210" y="1258302"/>
                  </a:lnTo>
                  <a:cubicBezTo>
                    <a:pt x="3519691" y="1290250"/>
                    <a:pt x="3500522" y="1318472"/>
                    <a:pt x="3467508" y="1325394"/>
                  </a:cubicBezTo>
                  <a:cubicBezTo>
                    <a:pt x="3423844" y="1313147"/>
                    <a:pt x="3233217" y="1258834"/>
                    <a:pt x="3260373" y="1211443"/>
                  </a:cubicBezTo>
                  <a:cubicBezTo>
                    <a:pt x="3304036" y="1210378"/>
                    <a:pt x="3374324" y="1252977"/>
                    <a:pt x="3440351" y="1243925"/>
                  </a:cubicBezTo>
                  <a:cubicBezTo>
                    <a:pt x="3461650" y="1213573"/>
                    <a:pt x="3451534" y="1144883"/>
                    <a:pt x="3440351" y="1117727"/>
                  </a:cubicBezTo>
                  <a:cubicBezTo>
                    <a:pt x="3378584" y="1119857"/>
                    <a:pt x="3357284" y="1157130"/>
                    <a:pt x="3310959" y="1173105"/>
                  </a:cubicBezTo>
                  <a:cubicBezTo>
                    <a:pt x="3288595" y="1170975"/>
                    <a:pt x="3259308" y="1169910"/>
                    <a:pt x="3234282" y="1164053"/>
                  </a:cubicBezTo>
                  <a:lnTo>
                    <a:pt x="3234282" y="1163814"/>
                  </a:lnTo>
                  <a:lnTo>
                    <a:pt x="3234814" y="1164053"/>
                  </a:lnTo>
                  <a:lnTo>
                    <a:pt x="3234814" y="1082051"/>
                  </a:lnTo>
                  <a:lnTo>
                    <a:pt x="3234282" y="1082322"/>
                  </a:lnTo>
                  <a:lnTo>
                    <a:pt x="3234282" y="1082051"/>
                  </a:lnTo>
                  <a:cubicBezTo>
                    <a:pt x="3283802" y="1061816"/>
                    <a:pt x="3340245" y="1046907"/>
                    <a:pt x="3391896" y="1031465"/>
                  </a:cubicBezTo>
                  <a:cubicBezTo>
                    <a:pt x="3415325" y="1013361"/>
                    <a:pt x="3380714" y="997919"/>
                    <a:pt x="3429169" y="1002179"/>
                  </a:cubicBezTo>
                  <a:close/>
                  <a:moveTo>
                    <a:pt x="3580394" y="994192"/>
                  </a:moveTo>
                  <a:cubicBezTo>
                    <a:pt x="3600628" y="1000049"/>
                    <a:pt x="3616603" y="1004309"/>
                    <a:pt x="3644824" y="1024543"/>
                  </a:cubicBezTo>
                  <a:cubicBezTo>
                    <a:pt x="3645889" y="1077258"/>
                    <a:pt x="3560159" y="1084181"/>
                    <a:pt x="3528743" y="1113467"/>
                  </a:cubicBezTo>
                  <a:lnTo>
                    <a:pt x="3528743" y="1004309"/>
                  </a:lnTo>
                  <a:cubicBezTo>
                    <a:pt x="3547913" y="1001114"/>
                    <a:pt x="3567082" y="996321"/>
                    <a:pt x="3580394" y="994192"/>
                  </a:cubicBezTo>
                  <a:close/>
                  <a:moveTo>
                    <a:pt x="2529346" y="901606"/>
                  </a:moveTo>
                  <a:cubicBezTo>
                    <a:pt x="2533006" y="901673"/>
                    <a:pt x="2537799" y="903404"/>
                    <a:pt x="2547916" y="909528"/>
                  </a:cubicBezTo>
                  <a:cubicBezTo>
                    <a:pt x="2555903" y="927632"/>
                    <a:pt x="2579332" y="953723"/>
                    <a:pt x="2608619" y="977152"/>
                  </a:cubicBezTo>
                  <a:cubicBezTo>
                    <a:pt x="2644827" y="1008569"/>
                    <a:pt x="2689556" y="1038920"/>
                    <a:pt x="2718842" y="1051700"/>
                  </a:cubicBezTo>
                  <a:cubicBezTo>
                    <a:pt x="2747063" y="1053829"/>
                    <a:pt x="2775285" y="1055959"/>
                    <a:pt x="2803506" y="1057557"/>
                  </a:cubicBezTo>
                  <a:cubicBezTo>
                    <a:pt x="2804571" y="1095895"/>
                    <a:pt x="2702335" y="1149676"/>
                    <a:pt x="2668256" y="1154468"/>
                  </a:cubicBezTo>
                  <a:cubicBezTo>
                    <a:pt x="2656009" y="1151273"/>
                    <a:pt x="2642165" y="1147546"/>
                    <a:pt x="2629918" y="1145416"/>
                  </a:cubicBezTo>
                  <a:cubicBezTo>
                    <a:pt x="2622463" y="1139559"/>
                    <a:pt x="2615541" y="1132637"/>
                    <a:pt x="2608619" y="1124649"/>
                  </a:cubicBezTo>
                  <a:cubicBezTo>
                    <a:pt x="2568150" y="1077259"/>
                    <a:pt x="2533539" y="993659"/>
                    <a:pt x="2518629" y="951061"/>
                  </a:cubicBezTo>
                  <a:cubicBezTo>
                    <a:pt x="2517565" y="935087"/>
                    <a:pt x="2517565" y="919645"/>
                    <a:pt x="2517565" y="903670"/>
                  </a:cubicBezTo>
                  <a:cubicBezTo>
                    <a:pt x="2523156" y="903137"/>
                    <a:pt x="2525685" y="901540"/>
                    <a:pt x="2529346" y="901606"/>
                  </a:cubicBezTo>
                  <a:close/>
                  <a:moveTo>
                    <a:pt x="1595483" y="881273"/>
                  </a:moveTo>
                  <a:cubicBezTo>
                    <a:pt x="1591148" y="880907"/>
                    <a:pt x="1585857" y="881306"/>
                    <a:pt x="1578801" y="881839"/>
                  </a:cubicBezTo>
                  <a:cubicBezTo>
                    <a:pt x="1575074" y="881839"/>
                    <a:pt x="1569750" y="881839"/>
                    <a:pt x="1563892" y="881839"/>
                  </a:cubicBezTo>
                  <a:cubicBezTo>
                    <a:pt x="1559632" y="883969"/>
                    <a:pt x="1555905" y="887164"/>
                    <a:pt x="1552710" y="890358"/>
                  </a:cubicBezTo>
                  <a:cubicBezTo>
                    <a:pt x="1518099" y="915917"/>
                    <a:pt x="1528216" y="955321"/>
                    <a:pt x="1529281" y="1001647"/>
                  </a:cubicBezTo>
                  <a:cubicBezTo>
                    <a:pt x="1535671" y="999517"/>
                    <a:pt x="1543658" y="996854"/>
                    <a:pt x="1552710" y="992595"/>
                  </a:cubicBezTo>
                  <a:cubicBezTo>
                    <a:pt x="1560697" y="987802"/>
                    <a:pt x="1569750" y="983542"/>
                    <a:pt x="1578801" y="977685"/>
                  </a:cubicBezTo>
                  <a:cubicBezTo>
                    <a:pt x="1602231" y="962776"/>
                    <a:pt x="1624595" y="943606"/>
                    <a:pt x="1630452" y="922307"/>
                  </a:cubicBezTo>
                  <a:cubicBezTo>
                    <a:pt x="1612881" y="890358"/>
                    <a:pt x="1608488" y="882371"/>
                    <a:pt x="1595483" y="881273"/>
                  </a:cubicBezTo>
                  <a:close/>
                  <a:moveTo>
                    <a:pt x="578273" y="855746"/>
                  </a:moveTo>
                  <a:lnTo>
                    <a:pt x="576143" y="870122"/>
                  </a:lnTo>
                  <a:lnTo>
                    <a:pt x="577208" y="885032"/>
                  </a:lnTo>
                  <a:lnTo>
                    <a:pt x="577208" y="899409"/>
                  </a:lnTo>
                  <a:lnTo>
                    <a:pt x="583065" y="911656"/>
                  </a:lnTo>
                  <a:lnTo>
                    <a:pt x="609157" y="921773"/>
                  </a:lnTo>
                  <a:lnTo>
                    <a:pt x="610222" y="922838"/>
                  </a:lnTo>
                  <a:cubicBezTo>
                    <a:pt x="609157" y="905266"/>
                    <a:pt x="609157" y="887162"/>
                    <a:pt x="610222" y="869058"/>
                  </a:cubicBezTo>
                  <a:cubicBezTo>
                    <a:pt x="610222" y="867993"/>
                    <a:pt x="609157" y="867993"/>
                    <a:pt x="609157" y="866928"/>
                  </a:cubicBezTo>
                  <a:cubicBezTo>
                    <a:pt x="601169" y="862668"/>
                    <a:pt x="585727" y="855746"/>
                    <a:pt x="578273" y="855746"/>
                  </a:cubicBezTo>
                  <a:close/>
                  <a:moveTo>
                    <a:pt x="3589446" y="757771"/>
                  </a:moveTo>
                  <a:cubicBezTo>
                    <a:pt x="3581458" y="757771"/>
                    <a:pt x="3573471" y="759900"/>
                    <a:pt x="3566017" y="760965"/>
                  </a:cubicBezTo>
                  <a:cubicBezTo>
                    <a:pt x="3558030" y="766823"/>
                    <a:pt x="3544718" y="778005"/>
                    <a:pt x="3528743" y="790252"/>
                  </a:cubicBezTo>
                  <a:lnTo>
                    <a:pt x="3528743" y="790784"/>
                  </a:lnTo>
                  <a:cubicBezTo>
                    <a:pt x="3500522" y="815278"/>
                    <a:pt x="3468041" y="846695"/>
                    <a:pt x="3469105" y="863734"/>
                  </a:cubicBezTo>
                  <a:cubicBezTo>
                    <a:pt x="3482417" y="853617"/>
                    <a:pt x="3506379" y="840305"/>
                    <a:pt x="3528743" y="824331"/>
                  </a:cubicBezTo>
                  <a:cubicBezTo>
                    <a:pt x="3560159" y="803031"/>
                    <a:pt x="3590511" y="779070"/>
                    <a:pt x="3589446" y="757771"/>
                  </a:cubicBezTo>
                  <a:close/>
                  <a:moveTo>
                    <a:pt x="600104" y="741795"/>
                  </a:moveTo>
                  <a:cubicBezTo>
                    <a:pt x="595845" y="756704"/>
                    <a:pt x="592650" y="779068"/>
                    <a:pt x="601169" y="782796"/>
                  </a:cubicBezTo>
                  <a:cubicBezTo>
                    <a:pt x="602234" y="782796"/>
                    <a:pt x="605962" y="783861"/>
                    <a:pt x="609157" y="785991"/>
                  </a:cubicBezTo>
                  <a:cubicBezTo>
                    <a:pt x="611819" y="788121"/>
                    <a:pt x="615014" y="790250"/>
                    <a:pt x="616079" y="790250"/>
                  </a:cubicBezTo>
                  <a:cubicBezTo>
                    <a:pt x="617144" y="785991"/>
                    <a:pt x="622469" y="755639"/>
                    <a:pt x="620339" y="749782"/>
                  </a:cubicBezTo>
                  <a:cubicBezTo>
                    <a:pt x="619274" y="748717"/>
                    <a:pt x="613416" y="744990"/>
                    <a:pt x="609157" y="742860"/>
                  </a:cubicBezTo>
                  <a:cubicBezTo>
                    <a:pt x="604364" y="741795"/>
                    <a:pt x="602234" y="740730"/>
                    <a:pt x="600104" y="741795"/>
                  </a:cubicBezTo>
                  <a:close/>
                  <a:moveTo>
                    <a:pt x="3661538" y="687708"/>
                  </a:moveTo>
                  <a:cubicBezTo>
                    <a:pt x="3691615" y="686285"/>
                    <a:pt x="3726559" y="691077"/>
                    <a:pt x="3722566" y="730614"/>
                  </a:cubicBezTo>
                  <a:cubicBezTo>
                    <a:pt x="3692214" y="743926"/>
                    <a:pt x="3640564" y="808356"/>
                    <a:pt x="3618732" y="834448"/>
                  </a:cubicBezTo>
                  <a:cubicBezTo>
                    <a:pt x="3587316" y="850954"/>
                    <a:pt x="3558030" y="869059"/>
                    <a:pt x="3528743" y="887163"/>
                  </a:cubicBezTo>
                  <a:cubicBezTo>
                    <a:pt x="3484547" y="915385"/>
                    <a:pt x="3443014" y="945736"/>
                    <a:pt x="3402545" y="978217"/>
                  </a:cubicBezTo>
                  <a:cubicBezTo>
                    <a:pt x="3396688" y="977152"/>
                    <a:pt x="3391363" y="977152"/>
                    <a:pt x="3385506" y="977152"/>
                  </a:cubicBezTo>
                  <a:cubicBezTo>
                    <a:pt x="3384441" y="944671"/>
                    <a:pt x="3435026" y="899410"/>
                    <a:pt x="3460053" y="875981"/>
                  </a:cubicBezTo>
                  <a:cubicBezTo>
                    <a:pt x="3464846" y="871189"/>
                    <a:pt x="3462716" y="864799"/>
                    <a:pt x="3455793" y="867994"/>
                  </a:cubicBezTo>
                  <a:cubicBezTo>
                    <a:pt x="3422247" y="884501"/>
                    <a:pt x="3398286" y="922839"/>
                    <a:pt x="3356752" y="919644"/>
                  </a:cubicBezTo>
                  <a:cubicBezTo>
                    <a:pt x="3325336" y="921242"/>
                    <a:pt x="3293920" y="923372"/>
                    <a:pt x="3263568" y="925502"/>
                  </a:cubicBezTo>
                  <a:cubicBezTo>
                    <a:pt x="3251854" y="924437"/>
                    <a:pt x="3251854" y="924437"/>
                    <a:pt x="3238542" y="916450"/>
                  </a:cubicBezTo>
                  <a:cubicBezTo>
                    <a:pt x="3237476" y="898345"/>
                    <a:pt x="3238542" y="900475"/>
                    <a:pt x="3249724" y="890358"/>
                  </a:cubicBezTo>
                  <a:cubicBezTo>
                    <a:pt x="3333855" y="850954"/>
                    <a:pt x="3421714" y="797174"/>
                    <a:pt x="3509574" y="757771"/>
                  </a:cubicBezTo>
                  <a:cubicBezTo>
                    <a:pt x="3516496" y="754576"/>
                    <a:pt x="3522886" y="749783"/>
                    <a:pt x="3528743" y="746588"/>
                  </a:cubicBezTo>
                  <a:cubicBezTo>
                    <a:pt x="3563887" y="727419"/>
                    <a:pt x="3598498" y="709315"/>
                    <a:pt x="3634706" y="690146"/>
                  </a:cubicBezTo>
                  <a:cubicBezTo>
                    <a:pt x="3642028" y="689347"/>
                    <a:pt x="3651513" y="688182"/>
                    <a:pt x="3661538" y="687708"/>
                  </a:cubicBezTo>
                  <a:close/>
                  <a:moveTo>
                    <a:pt x="3106487" y="648612"/>
                  </a:moveTo>
                  <a:cubicBezTo>
                    <a:pt x="3152812" y="647547"/>
                    <a:pt x="3159202" y="700263"/>
                    <a:pt x="3233749" y="667781"/>
                  </a:cubicBezTo>
                  <a:cubicBezTo>
                    <a:pt x="3233749" y="666716"/>
                    <a:pt x="3234814" y="665652"/>
                    <a:pt x="3234814" y="665652"/>
                  </a:cubicBezTo>
                  <a:lnTo>
                    <a:pt x="3234814" y="750848"/>
                  </a:lnTo>
                  <a:cubicBezTo>
                    <a:pt x="3232684" y="765758"/>
                    <a:pt x="3228957" y="780135"/>
                    <a:pt x="3225762" y="789187"/>
                  </a:cubicBezTo>
                  <a:cubicBezTo>
                    <a:pt x="3219905" y="790252"/>
                    <a:pt x="3214580" y="791317"/>
                    <a:pt x="3208723" y="792382"/>
                  </a:cubicBezTo>
                  <a:cubicBezTo>
                    <a:pt x="3145890" y="762030"/>
                    <a:pt x="3108617" y="714640"/>
                    <a:pt x="3106487" y="661924"/>
                  </a:cubicBezTo>
                  <a:lnTo>
                    <a:pt x="3106487" y="651807"/>
                  </a:lnTo>
                  <a:cubicBezTo>
                    <a:pt x="3106487" y="650742"/>
                    <a:pt x="3106487" y="649677"/>
                    <a:pt x="3106487" y="648612"/>
                  </a:cubicBezTo>
                  <a:close/>
                  <a:moveTo>
                    <a:pt x="1575074" y="608144"/>
                  </a:moveTo>
                  <a:cubicBezTo>
                    <a:pt x="1566022" y="610274"/>
                    <a:pt x="1558567" y="612936"/>
                    <a:pt x="1552710" y="616131"/>
                  </a:cubicBezTo>
                  <a:cubicBezTo>
                    <a:pt x="1533541" y="625184"/>
                    <a:pt x="1526618" y="640625"/>
                    <a:pt x="1527684" y="671509"/>
                  </a:cubicBezTo>
                  <a:cubicBezTo>
                    <a:pt x="1533541" y="670444"/>
                    <a:pt x="1543658" y="663522"/>
                    <a:pt x="1552710" y="655535"/>
                  </a:cubicBezTo>
                  <a:cubicBezTo>
                    <a:pt x="1567087" y="640625"/>
                    <a:pt x="1581997" y="621456"/>
                    <a:pt x="1575074" y="608144"/>
                  </a:cubicBezTo>
                  <a:close/>
                  <a:moveTo>
                    <a:pt x="2635775" y="472893"/>
                  </a:moveTo>
                  <a:cubicBezTo>
                    <a:pt x="2661867" y="492062"/>
                    <a:pt x="2661867" y="492062"/>
                    <a:pt x="2689556" y="508037"/>
                  </a:cubicBezTo>
                  <a:cubicBezTo>
                    <a:pt x="2720972" y="548505"/>
                    <a:pt x="2667191" y="610274"/>
                    <a:pt x="2608619" y="661392"/>
                  </a:cubicBezTo>
                  <a:lnTo>
                    <a:pt x="2608619" y="553830"/>
                  </a:lnTo>
                  <a:cubicBezTo>
                    <a:pt x="2619801" y="526674"/>
                    <a:pt x="2619801" y="490997"/>
                    <a:pt x="2635775" y="472893"/>
                  </a:cubicBezTo>
                  <a:close/>
                  <a:moveTo>
                    <a:pt x="1655479" y="448932"/>
                  </a:moveTo>
                  <a:cubicBezTo>
                    <a:pt x="1629387" y="465971"/>
                    <a:pt x="1601166" y="478218"/>
                    <a:pt x="1578801" y="495257"/>
                  </a:cubicBezTo>
                  <a:cubicBezTo>
                    <a:pt x="1568685" y="503246"/>
                    <a:pt x="1558567" y="512298"/>
                    <a:pt x="1552710" y="523480"/>
                  </a:cubicBezTo>
                  <a:cubicBezTo>
                    <a:pt x="1545788" y="534662"/>
                    <a:pt x="1542593" y="547441"/>
                    <a:pt x="1542061" y="562351"/>
                  </a:cubicBezTo>
                  <a:cubicBezTo>
                    <a:pt x="1545255" y="561286"/>
                    <a:pt x="1548983" y="560221"/>
                    <a:pt x="1552177" y="558091"/>
                  </a:cubicBezTo>
                  <a:cubicBezTo>
                    <a:pt x="1561230" y="554896"/>
                    <a:pt x="1570282" y="550104"/>
                    <a:pt x="1578269" y="545844"/>
                  </a:cubicBezTo>
                  <a:cubicBezTo>
                    <a:pt x="1604361" y="532000"/>
                    <a:pt x="1626725" y="514960"/>
                    <a:pt x="1642699" y="481413"/>
                  </a:cubicBezTo>
                  <a:cubicBezTo>
                    <a:pt x="1656544" y="473426"/>
                    <a:pt x="1656544" y="473426"/>
                    <a:pt x="1667726" y="461179"/>
                  </a:cubicBezTo>
                  <a:cubicBezTo>
                    <a:pt x="1666661" y="456919"/>
                    <a:pt x="1666661" y="452127"/>
                    <a:pt x="1666661" y="449997"/>
                  </a:cubicBezTo>
                  <a:cubicBezTo>
                    <a:pt x="1662401" y="448932"/>
                    <a:pt x="1658673" y="448932"/>
                    <a:pt x="1655479" y="448932"/>
                  </a:cubicBezTo>
                  <a:close/>
                  <a:moveTo>
                    <a:pt x="3171982" y="389826"/>
                  </a:moveTo>
                  <a:cubicBezTo>
                    <a:pt x="3177839" y="394086"/>
                    <a:pt x="3183164" y="398878"/>
                    <a:pt x="3189021" y="403138"/>
                  </a:cubicBezTo>
                  <a:cubicBezTo>
                    <a:pt x="3195411" y="419112"/>
                    <a:pt x="3213515" y="436684"/>
                    <a:pt x="3234814" y="454789"/>
                  </a:cubicBezTo>
                  <a:cubicBezTo>
                    <a:pt x="3261971" y="478751"/>
                    <a:pt x="3292322" y="501115"/>
                    <a:pt x="3313621" y="520285"/>
                  </a:cubicBezTo>
                  <a:cubicBezTo>
                    <a:pt x="3315751" y="575130"/>
                    <a:pt x="3283270" y="591104"/>
                    <a:pt x="3234814" y="600156"/>
                  </a:cubicBezTo>
                  <a:lnTo>
                    <a:pt x="3233749" y="600156"/>
                  </a:lnTo>
                  <a:cubicBezTo>
                    <a:pt x="3231619" y="578857"/>
                    <a:pt x="3231619" y="558623"/>
                    <a:pt x="3230554" y="538389"/>
                  </a:cubicBezTo>
                  <a:cubicBezTo>
                    <a:pt x="3204463" y="506973"/>
                    <a:pt x="3123526" y="421242"/>
                    <a:pt x="3171982" y="389826"/>
                  </a:cubicBezTo>
                  <a:close/>
                  <a:moveTo>
                    <a:pt x="2558565" y="235940"/>
                  </a:moveTo>
                  <a:cubicBezTo>
                    <a:pt x="2573475" y="244992"/>
                    <a:pt x="2588917" y="248187"/>
                    <a:pt x="2599034" y="279603"/>
                  </a:cubicBezTo>
                  <a:cubicBezTo>
                    <a:pt x="2586787" y="368527"/>
                    <a:pt x="2575605" y="468633"/>
                    <a:pt x="2550578" y="565545"/>
                  </a:cubicBezTo>
                  <a:cubicBezTo>
                    <a:pt x="2550578" y="572467"/>
                    <a:pt x="2550578" y="578858"/>
                    <a:pt x="2551643" y="586845"/>
                  </a:cubicBezTo>
                  <a:cubicBezTo>
                    <a:pt x="2584125" y="586845"/>
                    <a:pt x="2599034" y="571934"/>
                    <a:pt x="2608086" y="553298"/>
                  </a:cubicBezTo>
                  <a:lnTo>
                    <a:pt x="2608086" y="660327"/>
                  </a:lnTo>
                  <a:cubicBezTo>
                    <a:pt x="2562825" y="698665"/>
                    <a:pt x="2513305" y="731147"/>
                    <a:pt x="2497863" y="743394"/>
                  </a:cubicBezTo>
                  <a:cubicBezTo>
                    <a:pt x="2480823" y="791849"/>
                    <a:pt x="2464317" y="841370"/>
                    <a:pt x="2447277" y="890891"/>
                  </a:cubicBezTo>
                  <a:cubicBezTo>
                    <a:pt x="2350898" y="1040517"/>
                    <a:pt x="2280077" y="1158728"/>
                    <a:pt x="2113411" y="1193339"/>
                  </a:cubicBezTo>
                  <a:cubicBezTo>
                    <a:pt x="2112346" y="1190144"/>
                    <a:pt x="2111281" y="1186417"/>
                    <a:pt x="2110217" y="1183222"/>
                  </a:cubicBezTo>
                  <a:cubicBezTo>
                    <a:pt x="2111281" y="1180027"/>
                    <a:pt x="2112346" y="1176300"/>
                    <a:pt x="2114476" y="1174170"/>
                  </a:cubicBezTo>
                  <a:cubicBezTo>
                    <a:pt x="2253986" y="1123584"/>
                    <a:pt x="2366873" y="964905"/>
                    <a:pt x="2394562" y="811551"/>
                  </a:cubicBezTo>
                  <a:cubicBezTo>
                    <a:pt x="2393497" y="808356"/>
                    <a:pt x="2393497" y="804629"/>
                    <a:pt x="2393497" y="801434"/>
                  </a:cubicBezTo>
                  <a:cubicBezTo>
                    <a:pt x="2341846" y="808356"/>
                    <a:pt x="2295520" y="826461"/>
                    <a:pt x="2250259" y="827526"/>
                  </a:cubicBezTo>
                  <a:cubicBezTo>
                    <a:pt x="2159204" y="774810"/>
                    <a:pt x="2212985" y="762031"/>
                    <a:pt x="2286467" y="748719"/>
                  </a:cubicBezTo>
                  <a:cubicBezTo>
                    <a:pt x="2337054" y="723692"/>
                    <a:pt x="2387639" y="694938"/>
                    <a:pt x="2433965" y="653937"/>
                  </a:cubicBezTo>
                  <a:cubicBezTo>
                    <a:pt x="2470174" y="535726"/>
                    <a:pt x="2509577" y="416450"/>
                    <a:pt x="2525019" y="300370"/>
                  </a:cubicBezTo>
                  <a:cubicBezTo>
                    <a:pt x="2546318" y="276941"/>
                    <a:pt x="2513837" y="252979"/>
                    <a:pt x="2558565" y="235940"/>
                  </a:cubicBezTo>
                  <a:close/>
                  <a:moveTo>
                    <a:pt x="3528210" y="194459"/>
                  </a:moveTo>
                  <a:lnTo>
                    <a:pt x="3528210" y="484076"/>
                  </a:lnTo>
                  <a:lnTo>
                    <a:pt x="3528743" y="483543"/>
                  </a:lnTo>
                  <a:lnTo>
                    <a:pt x="3528743" y="484076"/>
                  </a:lnTo>
                  <a:cubicBezTo>
                    <a:pt x="3508509" y="505375"/>
                    <a:pt x="3468041" y="540519"/>
                    <a:pt x="3495197" y="562883"/>
                  </a:cubicBezTo>
                  <a:cubicBezTo>
                    <a:pt x="3505314" y="561285"/>
                    <a:pt x="3512103" y="557558"/>
                    <a:pt x="3517161" y="553165"/>
                  </a:cubicBezTo>
                  <a:lnTo>
                    <a:pt x="3528210" y="540085"/>
                  </a:lnTo>
                  <a:lnTo>
                    <a:pt x="3528210" y="656599"/>
                  </a:lnTo>
                  <a:lnTo>
                    <a:pt x="3528743" y="656327"/>
                  </a:lnTo>
                  <a:lnTo>
                    <a:pt x="3528743" y="656599"/>
                  </a:lnTo>
                  <a:cubicBezTo>
                    <a:pt x="3488274" y="681626"/>
                    <a:pt x="3448871" y="708250"/>
                    <a:pt x="3406273" y="719432"/>
                  </a:cubicBezTo>
                  <a:cubicBezTo>
                    <a:pt x="3405208" y="715172"/>
                    <a:pt x="3403078" y="711445"/>
                    <a:pt x="3403078" y="707185"/>
                  </a:cubicBezTo>
                  <a:cubicBezTo>
                    <a:pt x="3430235" y="686951"/>
                    <a:pt x="3492002" y="651807"/>
                    <a:pt x="3496262" y="620391"/>
                  </a:cubicBezTo>
                  <a:cubicBezTo>
                    <a:pt x="3436624" y="593234"/>
                    <a:pt x="3443547" y="596962"/>
                    <a:pt x="3394026" y="629443"/>
                  </a:cubicBezTo>
                  <a:cubicBezTo>
                    <a:pt x="3321076" y="652872"/>
                    <a:pt x="3292855" y="661924"/>
                    <a:pt x="3246529" y="710380"/>
                  </a:cubicBezTo>
                  <a:cubicBezTo>
                    <a:pt x="3242269" y="722627"/>
                    <a:pt x="3238542" y="737536"/>
                    <a:pt x="3235347" y="750848"/>
                  </a:cubicBezTo>
                  <a:lnTo>
                    <a:pt x="3235347" y="665652"/>
                  </a:lnTo>
                  <a:cubicBezTo>
                    <a:pt x="3275815" y="624118"/>
                    <a:pt x="3325336" y="599092"/>
                    <a:pt x="3367934" y="560753"/>
                  </a:cubicBezTo>
                  <a:cubicBezTo>
                    <a:pt x="3368999" y="548506"/>
                    <a:pt x="3368999" y="535726"/>
                    <a:pt x="3370064" y="524544"/>
                  </a:cubicBezTo>
                  <a:cubicBezTo>
                    <a:pt x="3386039" y="523479"/>
                    <a:pt x="3402545" y="522414"/>
                    <a:pt x="3419585" y="520285"/>
                  </a:cubicBezTo>
                  <a:cubicBezTo>
                    <a:pt x="3457923" y="476621"/>
                    <a:pt x="3518626" y="380774"/>
                    <a:pt x="3511704" y="329123"/>
                  </a:cubicBezTo>
                  <a:cubicBezTo>
                    <a:pt x="3474430" y="329123"/>
                    <a:pt x="3438754" y="354150"/>
                    <a:pt x="3411598" y="341370"/>
                  </a:cubicBezTo>
                  <a:cubicBezTo>
                    <a:pt x="3410532" y="301967"/>
                    <a:pt x="3417455" y="305162"/>
                    <a:pt x="3447806" y="282798"/>
                  </a:cubicBezTo>
                  <a:close/>
                  <a:moveTo>
                    <a:pt x="52315" y="184090"/>
                  </a:moveTo>
                  <a:cubicBezTo>
                    <a:pt x="64296" y="184023"/>
                    <a:pt x="76676" y="185088"/>
                    <a:pt x="88391" y="188017"/>
                  </a:cubicBezTo>
                  <a:cubicBezTo>
                    <a:pt x="129925" y="196004"/>
                    <a:pt x="167198" y="221030"/>
                    <a:pt x="158146" y="272682"/>
                  </a:cubicBezTo>
                  <a:cubicBezTo>
                    <a:pt x="156016" y="288124"/>
                    <a:pt x="149094" y="290254"/>
                    <a:pt x="137912" y="296111"/>
                  </a:cubicBezTo>
                  <a:cubicBezTo>
                    <a:pt x="125132" y="301436"/>
                    <a:pt x="113950" y="306228"/>
                    <a:pt x="102768" y="308358"/>
                  </a:cubicBezTo>
                  <a:cubicBezTo>
                    <a:pt x="98508" y="309423"/>
                    <a:pt x="92651" y="309423"/>
                    <a:pt x="88391" y="309423"/>
                  </a:cubicBezTo>
                  <a:cubicBezTo>
                    <a:pt x="85729" y="309423"/>
                    <a:pt x="83599" y="309423"/>
                    <a:pt x="81469" y="309423"/>
                  </a:cubicBezTo>
                  <a:cubicBezTo>
                    <a:pt x="75612" y="306228"/>
                    <a:pt x="69754" y="303566"/>
                    <a:pt x="65494" y="299306"/>
                  </a:cubicBezTo>
                  <a:cubicBezTo>
                    <a:pt x="29286" y="271617"/>
                    <a:pt x="10117" y="229550"/>
                    <a:pt x="18636" y="186952"/>
                  </a:cubicBezTo>
                  <a:cubicBezTo>
                    <a:pt x="28753" y="185354"/>
                    <a:pt x="40334" y="184156"/>
                    <a:pt x="52315" y="184090"/>
                  </a:cubicBezTo>
                  <a:close/>
                  <a:moveTo>
                    <a:pt x="697548" y="95897"/>
                  </a:moveTo>
                  <a:cubicBezTo>
                    <a:pt x="698613" y="118261"/>
                    <a:pt x="698613" y="141690"/>
                    <a:pt x="698613" y="166717"/>
                  </a:cubicBezTo>
                  <a:cubicBezTo>
                    <a:pt x="703938" y="163522"/>
                    <a:pt x="708730" y="160859"/>
                    <a:pt x="712990" y="157665"/>
                  </a:cubicBezTo>
                  <a:cubicBezTo>
                    <a:pt x="717250" y="154470"/>
                    <a:pt x="721510" y="150210"/>
                    <a:pt x="727367" y="144353"/>
                  </a:cubicBezTo>
                  <a:cubicBezTo>
                    <a:pt x="727367" y="122521"/>
                    <a:pt x="723107" y="107079"/>
                    <a:pt x="712990" y="99092"/>
                  </a:cubicBezTo>
                  <a:cubicBezTo>
                    <a:pt x="708198" y="96962"/>
                    <a:pt x="703938" y="95897"/>
                    <a:pt x="697548" y="95897"/>
                  </a:cubicBezTo>
                  <a:close/>
                  <a:moveTo>
                    <a:pt x="1785205" y="42774"/>
                  </a:moveTo>
                  <a:cubicBezTo>
                    <a:pt x="1804873" y="40852"/>
                    <a:pt x="1812561" y="45445"/>
                    <a:pt x="1825341" y="84183"/>
                  </a:cubicBezTo>
                  <a:cubicBezTo>
                    <a:pt x="1816289" y="113469"/>
                    <a:pt x="1785937" y="129444"/>
                    <a:pt x="1779015" y="158730"/>
                  </a:cubicBezTo>
                  <a:cubicBezTo>
                    <a:pt x="1800314" y="148613"/>
                    <a:pt x="1820548" y="141691"/>
                    <a:pt x="1835458" y="118262"/>
                  </a:cubicBezTo>
                  <a:cubicBezTo>
                    <a:pt x="1858887" y="111339"/>
                    <a:pt x="1892966" y="127314"/>
                    <a:pt x="1895628" y="150211"/>
                  </a:cubicBezTo>
                  <a:lnTo>
                    <a:pt x="1895628" y="158198"/>
                  </a:lnTo>
                  <a:cubicBezTo>
                    <a:pt x="1893498" y="168315"/>
                    <a:pt x="1887641" y="179497"/>
                    <a:pt x="1873264" y="191744"/>
                  </a:cubicBezTo>
                  <a:cubicBezTo>
                    <a:pt x="1795522" y="219433"/>
                    <a:pt x="1708728" y="253512"/>
                    <a:pt x="1646959" y="304097"/>
                  </a:cubicBezTo>
                  <a:cubicBezTo>
                    <a:pt x="1623530" y="332319"/>
                    <a:pt x="1600633" y="360540"/>
                    <a:pt x="1578269" y="388761"/>
                  </a:cubicBezTo>
                  <a:cubicBezTo>
                    <a:pt x="1564425" y="398879"/>
                    <a:pt x="1556438" y="404736"/>
                    <a:pt x="1552177" y="408996"/>
                  </a:cubicBezTo>
                  <a:cubicBezTo>
                    <a:pt x="1544190" y="418048"/>
                    <a:pt x="1543126" y="424438"/>
                    <a:pt x="1536203" y="450529"/>
                  </a:cubicBezTo>
                  <a:cubicBezTo>
                    <a:pt x="1540996" y="449464"/>
                    <a:pt x="1546320" y="448399"/>
                    <a:pt x="1552177" y="446269"/>
                  </a:cubicBezTo>
                  <a:cubicBezTo>
                    <a:pt x="1560165" y="443074"/>
                    <a:pt x="1569217" y="438815"/>
                    <a:pt x="1578269" y="432957"/>
                  </a:cubicBezTo>
                  <a:cubicBezTo>
                    <a:pt x="1645894" y="395684"/>
                    <a:pt x="1747066" y="322734"/>
                    <a:pt x="1765170" y="431892"/>
                  </a:cubicBezTo>
                  <a:cubicBezTo>
                    <a:pt x="1802444" y="468101"/>
                    <a:pt x="1780080" y="479283"/>
                    <a:pt x="1742807" y="521882"/>
                  </a:cubicBezTo>
                  <a:cubicBezTo>
                    <a:pt x="1680505" y="573533"/>
                    <a:pt x="1641102" y="655535"/>
                    <a:pt x="1578269" y="711978"/>
                  </a:cubicBezTo>
                  <a:cubicBezTo>
                    <a:pt x="1570282" y="719965"/>
                    <a:pt x="1561230" y="726355"/>
                    <a:pt x="1552177" y="732212"/>
                  </a:cubicBezTo>
                  <a:cubicBezTo>
                    <a:pt x="1552177" y="735407"/>
                    <a:pt x="1552177" y="740199"/>
                    <a:pt x="1552177" y="744459"/>
                  </a:cubicBezTo>
                  <a:cubicBezTo>
                    <a:pt x="1559100" y="744459"/>
                    <a:pt x="1568152" y="741797"/>
                    <a:pt x="1578269" y="737537"/>
                  </a:cubicBezTo>
                  <a:cubicBezTo>
                    <a:pt x="1624595" y="718900"/>
                    <a:pt x="1705533" y="668847"/>
                    <a:pt x="1734819" y="654470"/>
                  </a:cubicBezTo>
                  <a:cubicBezTo>
                    <a:pt x="1760378" y="662990"/>
                    <a:pt x="1767300" y="669912"/>
                    <a:pt x="1767300" y="708250"/>
                  </a:cubicBezTo>
                  <a:cubicBezTo>
                    <a:pt x="1722572" y="744459"/>
                    <a:pt x="1679440" y="774810"/>
                    <a:pt x="1648024" y="823266"/>
                  </a:cubicBezTo>
                  <a:cubicBezTo>
                    <a:pt x="1648024" y="866929"/>
                    <a:pt x="1683168" y="866929"/>
                    <a:pt x="1726832" y="893021"/>
                  </a:cubicBezTo>
                  <a:cubicBezTo>
                    <a:pt x="1753988" y="933489"/>
                    <a:pt x="1649089" y="994724"/>
                    <a:pt x="1578269" y="1037323"/>
                  </a:cubicBezTo>
                  <a:cubicBezTo>
                    <a:pt x="1569217" y="1043180"/>
                    <a:pt x="1560165" y="1048505"/>
                    <a:pt x="1552177" y="1054362"/>
                  </a:cubicBezTo>
                  <a:cubicBezTo>
                    <a:pt x="1542061" y="1060219"/>
                    <a:pt x="1534606" y="1066077"/>
                    <a:pt x="1528749" y="1070337"/>
                  </a:cubicBezTo>
                  <a:cubicBezTo>
                    <a:pt x="1524489" y="1079389"/>
                    <a:pt x="1524489" y="1079389"/>
                    <a:pt x="1518631" y="1185352"/>
                  </a:cubicBezTo>
                  <a:cubicBezTo>
                    <a:pt x="1518631" y="1217833"/>
                    <a:pt x="1520761" y="1250847"/>
                    <a:pt x="1521826" y="1284393"/>
                  </a:cubicBezTo>
                  <a:cubicBezTo>
                    <a:pt x="1521826" y="1296641"/>
                    <a:pt x="1512774" y="1310485"/>
                    <a:pt x="1499462" y="1313680"/>
                  </a:cubicBezTo>
                  <a:cubicBezTo>
                    <a:pt x="1444617" y="1265224"/>
                    <a:pt x="1447812" y="1175235"/>
                    <a:pt x="1437694" y="1117727"/>
                  </a:cubicBezTo>
                  <a:cubicBezTo>
                    <a:pt x="1387109" y="1109740"/>
                    <a:pt x="1384446" y="1111870"/>
                    <a:pt x="1380187" y="1071402"/>
                  </a:cubicBezTo>
                  <a:cubicBezTo>
                    <a:pt x="1410538" y="1064479"/>
                    <a:pt x="1410538" y="1064479"/>
                    <a:pt x="1437694" y="1051167"/>
                  </a:cubicBezTo>
                  <a:cubicBezTo>
                    <a:pt x="1451539" y="1021881"/>
                    <a:pt x="1442487" y="936152"/>
                    <a:pt x="1434500" y="916982"/>
                  </a:cubicBezTo>
                  <a:cubicBezTo>
                    <a:pt x="1383914" y="918047"/>
                    <a:pt x="1327471" y="990465"/>
                    <a:pt x="1285938" y="1011764"/>
                  </a:cubicBezTo>
                  <a:cubicBezTo>
                    <a:pt x="1239612" y="1064479"/>
                    <a:pt x="1219378" y="1061284"/>
                    <a:pt x="1167727" y="1035193"/>
                  </a:cubicBezTo>
                  <a:cubicBezTo>
                    <a:pt x="1168792" y="1030933"/>
                    <a:pt x="1169857" y="1027206"/>
                    <a:pt x="1169857" y="1024011"/>
                  </a:cubicBezTo>
                  <a:cubicBezTo>
                    <a:pt x="1220975" y="1004842"/>
                    <a:pt x="1411070" y="886631"/>
                    <a:pt x="1422253" y="824863"/>
                  </a:cubicBezTo>
                  <a:cubicBezTo>
                    <a:pt x="1408408" y="822733"/>
                    <a:pt x="1408408" y="822733"/>
                    <a:pt x="1397226" y="814746"/>
                  </a:cubicBezTo>
                  <a:cubicBezTo>
                    <a:pt x="1397226" y="810486"/>
                    <a:pt x="1397226" y="805694"/>
                    <a:pt x="1397226" y="802499"/>
                  </a:cubicBezTo>
                  <a:cubicBezTo>
                    <a:pt x="1406278" y="795045"/>
                    <a:pt x="1417460" y="787057"/>
                    <a:pt x="1427577" y="779070"/>
                  </a:cubicBezTo>
                  <a:cubicBezTo>
                    <a:pt x="1435565" y="760966"/>
                    <a:pt x="1443552" y="703458"/>
                    <a:pt x="1435565" y="692276"/>
                  </a:cubicBezTo>
                  <a:cubicBezTo>
                    <a:pt x="1378057" y="692276"/>
                    <a:pt x="1354628" y="803564"/>
                    <a:pt x="1289133" y="782265"/>
                  </a:cubicBezTo>
                  <a:cubicBezTo>
                    <a:pt x="1253989" y="803564"/>
                    <a:pt x="1192221" y="854150"/>
                    <a:pt x="1153883" y="833916"/>
                  </a:cubicBezTo>
                  <a:cubicBezTo>
                    <a:pt x="1153883" y="824863"/>
                    <a:pt x="1154948" y="816876"/>
                    <a:pt x="1156013" y="808889"/>
                  </a:cubicBezTo>
                  <a:cubicBezTo>
                    <a:pt x="1188494" y="793447"/>
                    <a:pt x="1216715" y="771615"/>
                    <a:pt x="1263041" y="748186"/>
                  </a:cubicBezTo>
                  <a:cubicBezTo>
                    <a:pt x="1285405" y="708783"/>
                    <a:pt x="1263041" y="666184"/>
                    <a:pt x="1306704" y="656067"/>
                  </a:cubicBezTo>
                  <a:cubicBezTo>
                    <a:pt x="1312562" y="662990"/>
                    <a:pt x="1316822" y="669379"/>
                    <a:pt x="1323744" y="676302"/>
                  </a:cubicBezTo>
                  <a:cubicBezTo>
                    <a:pt x="1436630" y="675237"/>
                    <a:pt x="1438759" y="507505"/>
                    <a:pt x="1440889" y="435620"/>
                  </a:cubicBezTo>
                  <a:cubicBezTo>
                    <a:pt x="1463254" y="394086"/>
                    <a:pt x="1518099" y="401009"/>
                    <a:pt x="1523956" y="343501"/>
                  </a:cubicBezTo>
                  <a:cubicBezTo>
                    <a:pt x="1433967" y="356280"/>
                    <a:pt x="1443019" y="445204"/>
                    <a:pt x="1376459" y="458516"/>
                  </a:cubicBezTo>
                  <a:cubicBezTo>
                    <a:pt x="1366342" y="454256"/>
                    <a:pt x="1357290" y="450529"/>
                    <a:pt x="1348238" y="446269"/>
                  </a:cubicBezTo>
                  <a:cubicBezTo>
                    <a:pt x="1270496" y="446269"/>
                    <a:pt x="1234287" y="529337"/>
                    <a:pt x="1161337" y="469698"/>
                  </a:cubicBezTo>
                  <a:cubicBezTo>
                    <a:pt x="1161337" y="466503"/>
                    <a:pt x="1161337" y="462776"/>
                    <a:pt x="1161337" y="459581"/>
                  </a:cubicBezTo>
                  <a:cubicBezTo>
                    <a:pt x="1269431" y="405801"/>
                    <a:pt x="1269431" y="405801"/>
                    <a:pt x="1337056" y="376514"/>
                  </a:cubicBezTo>
                  <a:cubicBezTo>
                    <a:pt x="1385511" y="333916"/>
                    <a:pt x="1353030" y="247122"/>
                    <a:pt x="1363147" y="194406"/>
                  </a:cubicBezTo>
                  <a:cubicBezTo>
                    <a:pt x="1417993" y="193341"/>
                    <a:pt x="1415863" y="282265"/>
                    <a:pt x="1453136" y="312617"/>
                  </a:cubicBezTo>
                  <a:cubicBezTo>
                    <a:pt x="1485617" y="299305"/>
                    <a:pt x="1518631" y="285460"/>
                    <a:pt x="1552177" y="273213"/>
                  </a:cubicBezTo>
                  <a:cubicBezTo>
                    <a:pt x="1561230" y="270018"/>
                    <a:pt x="1569217" y="266291"/>
                    <a:pt x="1578269" y="263096"/>
                  </a:cubicBezTo>
                  <a:cubicBezTo>
                    <a:pt x="1584126" y="260434"/>
                    <a:pt x="1590516" y="258304"/>
                    <a:pt x="1596374" y="256174"/>
                  </a:cubicBezTo>
                  <a:cubicBezTo>
                    <a:pt x="1649622" y="190147"/>
                    <a:pt x="1705533" y="112404"/>
                    <a:pt x="1760911" y="45844"/>
                  </a:cubicBezTo>
                  <a:cubicBezTo>
                    <a:pt x="1770762" y="44779"/>
                    <a:pt x="1778649" y="43415"/>
                    <a:pt x="1785205" y="42774"/>
                  </a:cubicBezTo>
                  <a:close/>
                  <a:moveTo>
                    <a:pt x="677122" y="5334"/>
                  </a:moveTo>
                  <a:cubicBezTo>
                    <a:pt x="695418" y="7505"/>
                    <a:pt x="706600" y="24278"/>
                    <a:pt x="708198" y="55428"/>
                  </a:cubicBezTo>
                  <a:cubicBezTo>
                    <a:pt x="710328" y="55428"/>
                    <a:pt x="711393" y="55428"/>
                    <a:pt x="712458" y="55428"/>
                  </a:cubicBezTo>
                  <a:cubicBezTo>
                    <a:pt x="749731" y="57558"/>
                    <a:pt x="810434" y="104949"/>
                    <a:pt x="836526" y="143288"/>
                  </a:cubicBezTo>
                  <a:cubicBezTo>
                    <a:pt x="831733" y="191743"/>
                    <a:pt x="761978" y="242329"/>
                    <a:pt x="712458" y="269485"/>
                  </a:cubicBezTo>
                  <a:cubicBezTo>
                    <a:pt x="703406" y="273745"/>
                    <a:pt x="697016" y="277472"/>
                    <a:pt x="690094" y="280667"/>
                  </a:cubicBezTo>
                  <a:cubicBezTo>
                    <a:pt x="638443" y="327526"/>
                    <a:pt x="659742" y="366929"/>
                    <a:pt x="668794" y="420177"/>
                  </a:cubicBezTo>
                  <a:cubicBezTo>
                    <a:pt x="670924" y="428164"/>
                    <a:pt x="670924" y="429229"/>
                    <a:pt x="666664" y="435086"/>
                  </a:cubicBezTo>
                  <a:cubicBezTo>
                    <a:pt x="665599" y="437749"/>
                    <a:pt x="663470" y="439879"/>
                    <a:pt x="662405" y="440944"/>
                  </a:cubicBezTo>
                  <a:cubicBezTo>
                    <a:pt x="645898" y="465438"/>
                    <a:pt x="624599" y="494724"/>
                    <a:pt x="608624" y="524011"/>
                  </a:cubicBezTo>
                  <a:cubicBezTo>
                    <a:pt x="596377" y="546375"/>
                    <a:pt x="585195" y="569271"/>
                    <a:pt x="579338" y="591636"/>
                  </a:cubicBezTo>
                  <a:cubicBezTo>
                    <a:pt x="589455" y="584713"/>
                    <a:pt x="598507" y="577259"/>
                    <a:pt x="608624" y="570336"/>
                  </a:cubicBezTo>
                  <a:cubicBezTo>
                    <a:pt x="640573" y="545310"/>
                    <a:pt x="674119" y="521881"/>
                    <a:pt x="712458" y="512829"/>
                  </a:cubicBezTo>
                  <a:cubicBezTo>
                    <a:pt x="713523" y="511764"/>
                    <a:pt x="714588" y="511764"/>
                    <a:pt x="716718" y="511764"/>
                  </a:cubicBezTo>
                  <a:cubicBezTo>
                    <a:pt x="743874" y="531998"/>
                    <a:pt x="731627" y="555959"/>
                    <a:pt x="712458" y="579389"/>
                  </a:cubicBezTo>
                  <a:cubicBezTo>
                    <a:pt x="693288" y="603350"/>
                    <a:pt x="666664" y="626779"/>
                    <a:pt x="660807" y="645949"/>
                  </a:cubicBezTo>
                  <a:cubicBezTo>
                    <a:pt x="666132" y="664053"/>
                    <a:pt x="697548" y="660858"/>
                    <a:pt x="704471" y="713573"/>
                  </a:cubicBezTo>
                  <a:cubicBezTo>
                    <a:pt x="667729" y="863200"/>
                    <a:pt x="684236" y="1013360"/>
                    <a:pt x="710328" y="1175233"/>
                  </a:cubicBezTo>
                  <a:cubicBezTo>
                    <a:pt x="702341" y="1210910"/>
                    <a:pt x="652820" y="1217832"/>
                    <a:pt x="625663" y="1217832"/>
                  </a:cubicBezTo>
                  <a:cubicBezTo>
                    <a:pt x="619806" y="1213040"/>
                    <a:pt x="614481" y="1207715"/>
                    <a:pt x="608624" y="1200792"/>
                  </a:cubicBezTo>
                  <a:cubicBezTo>
                    <a:pt x="581468" y="1169376"/>
                    <a:pt x="558038" y="1116661"/>
                    <a:pt x="561233" y="1090569"/>
                  </a:cubicBezTo>
                  <a:cubicBezTo>
                    <a:pt x="592650" y="1103349"/>
                    <a:pt x="594247" y="1104414"/>
                    <a:pt x="608624" y="1105479"/>
                  </a:cubicBezTo>
                  <a:cubicBezTo>
                    <a:pt x="608624" y="1105479"/>
                    <a:pt x="609689" y="1105479"/>
                    <a:pt x="610754" y="1105479"/>
                  </a:cubicBezTo>
                  <a:cubicBezTo>
                    <a:pt x="620871" y="1076192"/>
                    <a:pt x="617676" y="1029866"/>
                    <a:pt x="608624" y="1008567"/>
                  </a:cubicBezTo>
                  <a:cubicBezTo>
                    <a:pt x="607559" y="1007502"/>
                    <a:pt x="606494" y="1006437"/>
                    <a:pt x="606494" y="1005372"/>
                  </a:cubicBezTo>
                  <a:cubicBezTo>
                    <a:pt x="572948" y="994190"/>
                    <a:pt x="567091" y="994190"/>
                    <a:pt x="555909" y="972891"/>
                  </a:cubicBezTo>
                  <a:cubicBezTo>
                    <a:pt x="551649" y="972891"/>
                    <a:pt x="546856" y="972891"/>
                    <a:pt x="543662" y="973956"/>
                  </a:cubicBezTo>
                  <a:cubicBezTo>
                    <a:pt x="534609" y="995255"/>
                    <a:pt x="531947" y="1026672"/>
                    <a:pt x="518635" y="1072997"/>
                  </a:cubicBezTo>
                  <a:cubicBezTo>
                    <a:pt x="514375" y="1104946"/>
                    <a:pt x="518635" y="1256703"/>
                    <a:pt x="449945" y="1246586"/>
                  </a:cubicBezTo>
                  <a:cubicBezTo>
                    <a:pt x="417464" y="1219429"/>
                    <a:pt x="420659" y="1221559"/>
                    <a:pt x="419594" y="1188013"/>
                  </a:cubicBezTo>
                  <a:cubicBezTo>
                    <a:pt x="441958" y="1074062"/>
                    <a:pt x="465387" y="975021"/>
                    <a:pt x="500531" y="866928"/>
                  </a:cubicBezTo>
                  <a:cubicBezTo>
                    <a:pt x="503726" y="815277"/>
                    <a:pt x="529817" y="776939"/>
                    <a:pt x="542064" y="734340"/>
                  </a:cubicBezTo>
                  <a:cubicBezTo>
                    <a:pt x="499998" y="734340"/>
                    <a:pt x="463257" y="778536"/>
                    <a:pt x="438230" y="730080"/>
                  </a:cubicBezTo>
                  <a:cubicBezTo>
                    <a:pt x="438230" y="723158"/>
                    <a:pt x="438230" y="716768"/>
                    <a:pt x="439296" y="709846"/>
                  </a:cubicBezTo>
                  <a:cubicBezTo>
                    <a:pt x="497868" y="644351"/>
                    <a:pt x="505855" y="583648"/>
                    <a:pt x="487751" y="504841"/>
                  </a:cubicBezTo>
                  <a:cubicBezTo>
                    <a:pt x="486686" y="498984"/>
                    <a:pt x="492543" y="492062"/>
                    <a:pt x="494673" y="487802"/>
                  </a:cubicBezTo>
                  <a:cubicBezTo>
                    <a:pt x="508518" y="462775"/>
                    <a:pt x="528752" y="433489"/>
                    <a:pt x="520765" y="410060"/>
                  </a:cubicBezTo>
                  <a:cubicBezTo>
                    <a:pt x="481361" y="410060"/>
                    <a:pt x="436633" y="468633"/>
                    <a:pt x="410542" y="492062"/>
                  </a:cubicBezTo>
                  <a:cubicBezTo>
                    <a:pt x="350904" y="535725"/>
                    <a:pt x="344514" y="545842"/>
                    <a:pt x="317358" y="562882"/>
                  </a:cubicBezTo>
                  <a:cubicBezTo>
                    <a:pt x="230563" y="587908"/>
                    <a:pt x="229498" y="586843"/>
                    <a:pt x="217251" y="666715"/>
                  </a:cubicBezTo>
                  <a:cubicBezTo>
                    <a:pt x="223109" y="787056"/>
                    <a:pt x="199147" y="934553"/>
                    <a:pt x="155484" y="1054893"/>
                  </a:cubicBezTo>
                  <a:cubicBezTo>
                    <a:pt x="148561" y="1096959"/>
                    <a:pt x="143237" y="1138492"/>
                    <a:pt x="136314" y="1180026"/>
                  </a:cubicBezTo>
                  <a:cubicBezTo>
                    <a:pt x="136314" y="1218897"/>
                    <a:pt x="147496" y="1292379"/>
                    <a:pt x="100106" y="1312613"/>
                  </a:cubicBezTo>
                  <a:cubicBezTo>
                    <a:pt x="95846" y="1309951"/>
                    <a:pt x="91054" y="1307821"/>
                    <a:pt x="87859" y="1305691"/>
                  </a:cubicBezTo>
                  <a:cubicBezTo>
                    <a:pt x="58572" y="1289717"/>
                    <a:pt x="38338" y="1276405"/>
                    <a:pt x="21299" y="1256170"/>
                  </a:cubicBezTo>
                  <a:cubicBezTo>
                    <a:pt x="9052" y="1192805"/>
                    <a:pt x="9052" y="1192805"/>
                    <a:pt x="1064" y="1121985"/>
                  </a:cubicBezTo>
                  <a:cubicBezTo>
                    <a:pt x="1064" y="1084179"/>
                    <a:pt x="2129" y="1045841"/>
                    <a:pt x="2129" y="1009632"/>
                  </a:cubicBezTo>
                  <a:cubicBezTo>
                    <a:pt x="4259" y="937215"/>
                    <a:pt x="5324" y="866395"/>
                    <a:pt x="6389" y="796640"/>
                  </a:cubicBezTo>
                  <a:cubicBezTo>
                    <a:pt x="5324" y="770549"/>
                    <a:pt x="5324" y="744990"/>
                    <a:pt x="4259" y="718898"/>
                  </a:cubicBezTo>
                  <a:cubicBezTo>
                    <a:pt x="2129" y="692807"/>
                    <a:pt x="0" y="666183"/>
                    <a:pt x="0" y="639026"/>
                  </a:cubicBezTo>
                  <a:lnTo>
                    <a:pt x="0" y="632104"/>
                  </a:lnTo>
                  <a:cubicBezTo>
                    <a:pt x="0" y="576726"/>
                    <a:pt x="12779" y="526141"/>
                    <a:pt x="65495" y="504841"/>
                  </a:cubicBezTo>
                  <a:cubicBezTo>
                    <a:pt x="76677" y="510166"/>
                    <a:pt x="82001" y="521881"/>
                    <a:pt x="87859" y="536258"/>
                  </a:cubicBezTo>
                  <a:cubicBezTo>
                    <a:pt x="95846" y="559687"/>
                    <a:pt x="100106" y="590038"/>
                    <a:pt x="116080" y="617195"/>
                  </a:cubicBezTo>
                  <a:cubicBezTo>
                    <a:pt x="177848" y="637429"/>
                    <a:pt x="144302" y="715171"/>
                    <a:pt x="144302" y="775874"/>
                  </a:cubicBezTo>
                  <a:cubicBezTo>
                    <a:pt x="157614" y="754574"/>
                    <a:pt x="162406" y="724223"/>
                    <a:pt x="165601" y="702924"/>
                  </a:cubicBezTo>
                  <a:cubicBezTo>
                    <a:pt x="173588" y="601220"/>
                    <a:pt x="165601" y="565544"/>
                    <a:pt x="223109" y="498984"/>
                  </a:cubicBezTo>
                  <a:cubicBezTo>
                    <a:pt x="258252" y="476087"/>
                    <a:pt x="313098" y="445736"/>
                    <a:pt x="339189" y="424437"/>
                  </a:cubicBezTo>
                  <a:cubicBezTo>
                    <a:pt x="521830" y="322733"/>
                    <a:pt x="521830" y="322733"/>
                    <a:pt x="536207" y="310486"/>
                  </a:cubicBezTo>
                  <a:cubicBezTo>
                    <a:pt x="577740" y="245524"/>
                    <a:pt x="584130" y="161924"/>
                    <a:pt x="609157" y="91105"/>
                  </a:cubicBezTo>
                  <a:cubicBezTo>
                    <a:pt x="619274" y="60753"/>
                    <a:pt x="634183" y="31467"/>
                    <a:pt x="656547" y="8038"/>
                  </a:cubicBezTo>
                  <a:cubicBezTo>
                    <a:pt x="664135" y="5509"/>
                    <a:pt x="671024" y="4610"/>
                    <a:pt x="677122" y="5334"/>
                  </a:cubicBezTo>
                  <a:close/>
                  <a:moveTo>
                    <a:pt x="3645157" y="983"/>
                  </a:moveTo>
                  <a:cubicBezTo>
                    <a:pt x="3663860" y="4710"/>
                    <a:pt x="3686358" y="18421"/>
                    <a:pt x="3704994" y="31467"/>
                  </a:cubicBezTo>
                  <a:cubicBezTo>
                    <a:pt x="3740138" y="88975"/>
                    <a:pt x="3691682" y="112404"/>
                    <a:pt x="3640564" y="159795"/>
                  </a:cubicBezTo>
                  <a:cubicBezTo>
                    <a:pt x="3611278" y="197068"/>
                    <a:pt x="3580926" y="237537"/>
                    <a:pt x="3543652" y="268953"/>
                  </a:cubicBezTo>
                  <a:cubicBezTo>
                    <a:pt x="3543652" y="271083"/>
                    <a:pt x="3544718" y="275875"/>
                    <a:pt x="3544718" y="279070"/>
                  </a:cubicBezTo>
                  <a:cubicBezTo>
                    <a:pt x="3595303" y="289187"/>
                    <a:pt x="3619265" y="274810"/>
                    <a:pt x="3621394" y="334448"/>
                  </a:cubicBezTo>
                  <a:cubicBezTo>
                    <a:pt x="3606485" y="359475"/>
                    <a:pt x="3580926" y="382904"/>
                    <a:pt x="3587849" y="419112"/>
                  </a:cubicBezTo>
                  <a:cubicBezTo>
                    <a:pt x="3663460" y="393021"/>
                    <a:pt x="3731086" y="354682"/>
                    <a:pt x="3812022" y="414853"/>
                  </a:cubicBezTo>
                  <a:cubicBezTo>
                    <a:pt x="3812022" y="416450"/>
                    <a:pt x="3812022" y="419112"/>
                    <a:pt x="3812022" y="421242"/>
                  </a:cubicBezTo>
                  <a:lnTo>
                    <a:pt x="3812022" y="443606"/>
                  </a:lnTo>
                  <a:cubicBezTo>
                    <a:pt x="3804035" y="511232"/>
                    <a:pt x="3718306" y="538389"/>
                    <a:pt x="3680500" y="594299"/>
                  </a:cubicBezTo>
                  <a:cubicBezTo>
                    <a:pt x="3671448" y="598559"/>
                    <a:pt x="3662396" y="604416"/>
                    <a:pt x="3654409" y="611339"/>
                  </a:cubicBezTo>
                  <a:cubicBezTo>
                    <a:pt x="3631245" y="611871"/>
                    <a:pt x="3609547" y="617462"/>
                    <a:pt x="3588713" y="625782"/>
                  </a:cubicBezTo>
                  <a:lnTo>
                    <a:pt x="3528743" y="656327"/>
                  </a:lnTo>
                  <a:lnTo>
                    <a:pt x="3528743" y="539454"/>
                  </a:lnTo>
                  <a:lnTo>
                    <a:pt x="3528210" y="540085"/>
                  </a:lnTo>
                  <a:lnTo>
                    <a:pt x="3528210" y="539454"/>
                  </a:lnTo>
                  <a:cubicBezTo>
                    <a:pt x="3539393" y="525077"/>
                    <a:pt x="3549510" y="514427"/>
                    <a:pt x="3607018" y="543714"/>
                  </a:cubicBezTo>
                  <a:cubicBezTo>
                    <a:pt x="3662396" y="536791"/>
                    <a:pt x="3687954" y="488336"/>
                    <a:pt x="3715111" y="446801"/>
                  </a:cubicBezTo>
                  <a:cubicBezTo>
                    <a:pt x="3702864" y="404203"/>
                    <a:pt x="3566549" y="469165"/>
                    <a:pt x="3537263" y="475024"/>
                  </a:cubicBezTo>
                  <a:lnTo>
                    <a:pt x="3528743" y="483543"/>
                  </a:lnTo>
                  <a:lnTo>
                    <a:pt x="3528743" y="193873"/>
                  </a:lnTo>
                  <a:lnTo>
                    <a:pt x="3528210" y="194459"/>
                  </a:lnTo>
                  <a:lnTo>
                    <a:pt x="3528210" y="193873"/>
                  </a:lnTo>
                  <a:cubicBezTo>
                    <a:pt x="3574537" y="146483"/>
                    <a:pt x="3615005" y="96962"/>
                    <a:pt x="3608082" y="30402"/>
                  </a:cubicBezTo>
                  <a:cubicBezTo>
                    <a:pt x="3611543" y="3512"/>
                    <a:pt x="3626453" y="-2745"/>
                    <a:pt x="3645157" y="983"/>
                  </a:cubicBez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60" name="îṥlîḋê"/>
            <p:cNvSpPr/>
            <p:nvPr userDrawn="1"/>
          </p:nvSpPr>
          <p:spPr>
            <a:xfrm>
              <a:off x="4486927" y="4159426"/>
              <a:ext cx="3700885" cy="373260"/>
            </a:xfrm>
            <a:custGeom>
              <a:avLst/>
              <a:gdLst>
                <a:gd name="connsiteX0" fmla="*/ 2873364 w 3817880"/>
                <a:gd name="connsiteY0" fmla="*/ 329175 h 420659"/>
                <a:gd name="connsiteX1" fmla="*/ 2873364 w 3817880"/>
                <a:gd name="connsiteY1" fmla="*/ 302019 h 420659"/>
                <a:gd name="connsiteX2" fmla="*/ 2893598 w 3817880"/>
                <a:gd name="connsiteY2" fmla="*/ 304149 h 420659"/>
                <a:gd name="connsiteX3" fmla="*/ 2926080 w 3817880"/>
                <a:gd name="connsiteY3" fmla="*/ 298291 h 420659"/>
                <a:gd name="connsiteX4" fmla="*/ 2962288 w 3817880"/>
                <a:gd name="connsiteY4" fmla="*/ 278057 h 420659"/>
                <a:gd name="connsiteX5" fmla="*/ 2962288 w 3817880"/>
                <a:gd name="connsiteY5" fmla="*/ 303084 h 420659"/>
                <a:gd name="connsiteX6" fmla="*/ 2921820 w 3817880"/>
                <a:gd name="connsiteY6" fmla="*/ 322253 h 420659"/>
                <a:gd name="connsiteX7" fmla="*/ 2880286 w 3817880"/>
                <a:gd name="connsiteY7" fmla="*/ 329175 h 420659"/>
                <a:gd name="connsiteX8" fmla="*/ 2873364 w 3817880"/>
                <a:gd name="connsiteY8" fmla="*/ 329175 h 420659"/>
                <a:gd name="connsiteX9" fmla="*/ 2873364 w 3817880"/>
                <a:gd name="connsiteY9" fmla="*/ 329175 h 420659"/>
                <a:gd name="connsiteX10" fmla="*/ 2873364 w 3817880"/>
                <a:gd name="connsiteY10" fmla="*/ 209367 h 420659"/>
                <a:gd name="connsiteX11" fmla="*/ 2873364 w 3817880"/>
                <a:gd name="connsiteY11" fmla="*/ 191263 h 420659"/>
                <a:gd name="connsiteX12" fmla="*/ 2922885 w 3817880"/>
                <a:gd name="connsiteY12" fmla="*/ 191263 h 420659"/>
                <a:gd name="connsiteX13" fmla="*/ 2922885 w 3817880"/>
                <a:gd name="connsiteY13" fmla="*/ 184341 h 420659"/>
                <a:gd name="connsiteX14" fmla="*/ 2911703 w 3817880"/>
                <a:gd name="connsiteY14" fmla="*/ 143872 h 420659"/>
                <a:gd name="connsiteX15" fmla="*/ 2878156 w 3817880"/>
                <a:gd name="connsiteY15" fmla="*/ 128963 h 420659"/>
                <a:gd name="connsiteX16" fmla="*/ 2873897 w 3817880"/>
                <a:gd name="connsiteY16" fmla="*/ 128963 h 420659"/>
                <a:gd name="connsiteX17" fmla="*/ 2873897 w 3817880"/>
                <a:gd name="connsiteY17" fmla="*/ 109794 h 420659"/>
                <a:gd name="connsiteX18" fmla="*/ 2884014 w 3817880"/>
                <a:gd name="connsiteY18" fmla="*/ 108729 h 420659"/>
                <a:gd name="connsiteX19" fmla="*/ 2941522 w 3817880"/>
                <a:gd name="connsiteY19" fmla="*/ 132158 h 420659"/>
                <a:gd name="connsiteX20" fmla="*/ 2962821 w 3817880"/>
                <a:gd name="connsiteY20" fmla="*/ 194990 h 420659"/>
                <a:gd name="connsiteX21" fmla="*/ 2962821 w 3817880"/>
                <a:gd name="connsiteY21" fmla="*/ 202978 h 420659"/>
                <a:gd name="connsiteX22" fmla="*/ 2962821 w 3817880"/>
                <a:gd name="connsiteY22" fmla="*/ 208835 h 420659"/>
                <a:gd name="connsiteX23" fmla="*/ 2873364 w 3817880"/>
                <a:gd name="connsiteY23" fmla="*/ 208835 h 420659"/>
                <a:gd name="connsiteX24" fmla="*/ 2873364 w 3817880"/>
                <a:gd name="connsiteY24" fmla="*/ 209367 h 420659"/>
                <a:gd name="connsiteX25" fmla="*/ 2994770 w 3817880"/>
                <a:gd name="connsiteY25" fmla="*/ 325448 h 420659"/>
                <a:gd name="connsiteX26" fmla="*/ 2994770 w 3817880"/>
                <a:gd name="connsiteY26" fmla="*/ 309473 h 420659"/>
                <a:gd name="connsiteX27" fmla="*/ 3017134 w 3817880"/>
                <a:gd name="connsiteY27" fmla="*/ 307343 h 420659"/>
                <a:gd name="connsiteX28" fmla="*/ 3025121 w 3817880"/>
                <a:gd name="connsiteY28" fmla="*/ 299356 h 420659"/>
                <a:gd name="connsiteX29" fmla="*/ 3025121 w 3817880"/>
                <a:gd name="connsiteY29" fmla="*/ 141742 h 420659"/>
                <a:gd name="connsiteX30" fmla="*/ 2994770 w 3817880"/>
                <a:gd name="connsiteY30" fmla="*/ 141742 h 420659"/>
                <a:gd name="connsiteX31" fmla="*/ 2994770 w 3817880"/>
                <a:gd name="connsiteY31" fmla="*/ 127365 h 420659"/>
                <a:gd name="connsiteX32" fmla="*/ 3045355 w 3817880"/>
                <a:gd name="connsiteY32" fmla="*/ 112456 h 420659"/>
                <a:gd name="connsiteX33" fmla="*/ 3062395 w 3817880"/>
                <a:gd name="connsiteY33" fmla="*/ 112456 h 420659"/>
                <a:gd name="connsiteX34" fmla="*/ 3062395 w 3817880"/>
                <a:gd name="connsiteY34" fmla="*/ 152924 h 420659"/>
                <a:gd name="connsiteX35" fmla="*/ 3083694 w 3817880"/>
                <a:gd name="connsiteY35" fmla="*/ 131625 h 420659"/>
                <a:gd name="connsiteX36" fmla="*/ 3108720 w 3817880"/>
                <a:gd name="connsiteY36" fmla="*/ 110326 h 420659"/>
                <a:gd name="connsiteX37" fmla="*/ 3112980 w 3817880"/>
                <a:gd name="connsiteY37" fmla="*/ 110326 h 420659"/>
                <a:gd name="connsiteX38" fmla="*/ 3119902 w 3817880"/>
                <a:gd name="connsiteY38" fmla="*/ 109261 h 420659"/>
                <a:gd name="connsiteX39" fmla="*/ 3132149 w 3817880"/>
                <a:gd name="connsiteY39" fmla="*/ 111391 h 420659"/>
                <a:gd name="connsiteX40" fmla="*/ 3145461 w 3817880"/>
                <a:gd name="connsiteY40" fmla="*/ 115651 h 420659"/>
                <a:gd name="connsiteX41" fmla="*/ 3145461 w 3817880"/>
                <a:gd name="connsiteY41" fmla="*/ 152924 h 420659"/>
                <a:gd name="connsiteX42" fmla="*/ 3132149 w 3817880"/>
                <a:gd name="connsiteY42" fmla="*/ 152924 h 420659"/>
                <a:gd name="connsiteX43" fmla="*/ 3122032 w 3817880"/>
                <a:gd name="connsiteY43" fmla="*/ 144937 h 420659"/>
                <a:gd name="connsiteX44" fmla="*/ 3109785 w 3817880"/>
                <a:gd name="connsiteY44" fmla="*/ 142807 h 420659"/>
                <a:gd name="connsiteX45" fmla="*/ 3087421 w 3817880"/>
                <a:gd name="connsiteY45" fmla="*/ 150794 h 420659"/>
                <a:gd name="connsiteX46" fmla="*/ 3062395 w 3817880"/>
                <a:gd name="connsiteY46" fmla="*/ 174223 h 420659"/>
                <a:gd name="connsiteX47" fmla="*/ 3062395 w 3817880"/>
                <a:gd name="connsiteY47" fmla="*/ 299356 h 420659"/>
                <a:gd name="connsiteX48" fmla="*/ 3069317 w 3817880"/>
                <a:gd name="connsiteY48" fmla="*/ 307343 h 420659"/>
                <a:gd name="connsiteX49" fmla="*/ 3099668 w 3817880"/>
                <a:gd name="connsiteY49" fmla="*/ 309473 h 420659"/>
                <a:gd name="connsiteX50" fmla="*/ 3099668 w 3817880"/>
                <a:gd name="connsiteY50" fmla="*/ 325448 h 420659"/>
                <a:gd name="connsiteX51" fmla="*/ 2994770 w 3817880"/>
                <a:gd name="connsiteY51" fmla="*/ 325448 h 420659"/>
                <a:gd name="connsiteX52" fmla="*/ 2994770 w 3817880"/>
                <a:gd name="connsiteY52" fmla="*/ 325448 h 420659"/>
                <a:gd name="connsiteX53" fmla="*/ 3299880 w 3817880"/>
                <a:gd name="connsiteY53" fmla="*/ 119378 h 420659"/>
                <a:gd name="connsiteX54" fmla="*/ 3299880 w 3817880"/>
                <a:gd name="connsiteY54" fmla="*/ 168899 h 420659"/>
                <a:gd name="connsiteX55" fmla="*/ 3277516 w 3817880"/>
                <a:gd name="connsiteY55" fmla="*/ 168899 h 420659"/>
                <a:gd name="connsiteX56" fmla="*/ 3274322 w 3817880"/>
                <a:gd name="connsiteY56" fmla="*/ 138547 h 420659"/>
                <a:gd name="connsiteX57" fmla="*/ 3257282 w 3817880"/>
                <a:gd name="connsiteY57" fmla="*/ 130560 h 420659"/>
                <a:gd name="connsiteX58" fmla="*/ 3241308 w 3817880"/>
                <a:gd name="connsiteY58" fmla="*/ 128430 h 420659"/>
                <a:gd name="connsiteX59" fmla="*/ 3215216 w 3817880"/>
                <a:gd name="connsiteY59" fmla="*/ 137482 h 420659"/>
                <a:gd name="connsiteX60" fmla="*/ 3205099 w 3817880"/>
                <a:gd name="connsiteY60" fmla="*/ 159847 h 420659"/>
                <a:gd name="connsiteX61" fmla="*/ 3213086 w 3817880"/>
                <a:gd name="connsiteY61" fmla="*/ 181146 h 420659"/>
                <a:gd name="connsiteX62" fmla="*/ 3242373 w 3817880"/>
                <a:gd name="connsiteY62" fmla="*/ 200315 h 420659"/>
                <a:gd name="connsiteX63" fmla="*/ 3253555 w 3817880"/>
                <a:gd name="connsiteY63" fmla="*/ 204575 h 420659"/>
                <a:gd name="connsiteX64" fmla="*/ 3288699 w 3817880"/>
                <a:gd name="connsiteY64" fmla="*/ 224809 h 420659"/>
                <a:gd name="connsiteX65" fmla="*/ 3300946 w 3817880"/>
                <a:gd name="connsiteY65" fmla="*/ 241848 h 420659"/>
                <a:gd name="connsiteX66" fmla="*/ 3305205 w 3817880"/>
                <a:gd name="connsiteY66" fmla="*/ 263148 h 420659"/>
                <a:gd name="connsiteX67" fmla="*/ 3283906 w 3817880"/>
                <a:gd name="connsiteY67" fmla="*/ 311603 h 420659"/>
                <a:gd name="connsiteX68" fmla="*/ 3223203 w 3817880"/>
                <a:gd name="connsiteY68" fmla="*/ 328643 h 420659"/>
                <a:gd name="connsiteX69" fmla="*/ 3193917 w 3817880"/>
                <a:gd name="connsiteY69" fmla="*/ 326513 h 420659"/>
                <a:gd name="connsiteX70" fmla="*/ 3166761 w 3817880"/>
                <a:gd name="connsiteY70" fmla="*/ 319591 h 420659"/>
                <a:gd name="connsiteX71" fmla="*/ 3166761 w 3817880"/>
                <a:gd name="connsiteY71" fmla="*/ 262083 h 420659"/>
                <a:gd name="connsiteX72" fmla="*/ 3188060 w 3817880"/>
                <a:gd name="connsiteY72" fmla="*/ 262083 h 420659"/>
                <a:gd name="connsiteX73" fmla="*/ 3192319 w 3817880"/>
                <a:gd name="connsiteY73" fmla="*/ 299356 h 420659"/>
                <a:gd name="connsiteX74" fmla="*/ 3211489 w 3817880"/>
                <a:gd name="connsiteY74" fmla="*/ 307343 h 420659"/>
                <a:gd name="connsiteX75" fmla="*/ 3229593 w 3817880"/>
                <a:gd name="connsiteY75" fmla="*/ 310538 h 420659"/>
                <a:gd name="connsiteX76" fmla="*/ 3259944 w 3817880"/>
                <a:gd name="connsiteY76" fmla="*/ 300421 h 420659"/>
                <a:gd name="connsiteX77" fmla="*/ 3271126 w 3817880"/>
                <a:gd name="connsiteY77" fmla="*/ 274330 h 420659"/>
                <a:gd name="connsiteX78" fmla="*/ 3263139 w 3817880"/>
                <a:gd name="connsiteY78" fmla="*/ 253031 h 420659"/>
                <a:gd name="connsiteX79" fmla="*/ 3225866 w 3817880"/>
                <a:gd name="connsiteY79" fmla="*/ 230666 h 420659"/>
                <a:gd name="connsiteX80" fmla="*/ 3182203 w 3817880"/>
                <a:gd name="connsiteY80" fmla="*/ 203510 h 420659"/>
                <a:gd name="connsiteX81" fmla="*/ 3169955 w 3817880"/>
                <a:gd name="connsiteY81" fmla="*/ 171029 h 420659"/>
                <a:gd name="connsiteX82" fmla="*/ 3190190 w 3817880"/>
                <a:gd name="connsiteY82" fmla="*/ 125768 h 420659"/>
                <a:gd name="connsiteX83" fmla="*/ 3247698 w 3817880"/>
                <a:gd name="connsiteY83" fmla="*/ 108729 h 420659"/>
                <a:gd name="connsiteX84" fmla="*/ 3274854 w 3817880"/>
                <a:gd name="connsiteY84" fmla="*/ 111923 h 420659"/>
                <a:gd name="connsiteX85" fmla="*/ 3299880 w 3817880"/>
                <a:gd name="connsiteY85" fmla="*/ 119378 h 420659"/>
                <a:gd name="connsiteX86" fmla="*/ 3299880 w 3817880"/>
                <a:gd name="connsiteY86" fmla="*/ 119378 h 420659"/>
                <a:gd name="connsiteX87" fmla="*/ 3389870 w 3817880"/>
                <a:gd name="connsiteY87" fmla="*/ 112988 h 420659"/>
                <a:gd name="connsiteX88" fmla="*/ 3406909 w 3817880"/>
                <a:gd name="connsiteY88" fmla="*/ 112988 h 420659"/>
                <a:gd name="connsiteX89" fmla="*/ 3406909 w 3817880"/>
                <a:gd name="connsiteY89" fmla="*/ 299889 h 420659"/>
                <a:gd name="connsiteX90" fmla="*/ 3413831 w 3817880"/>
                <a:gd name="connsiteY90" fmla="*/ 307876 h 420659"/>
                <a:gd name="connsiteX91" fmla="*/ 3437261 w 3817880"/>
                <a:gd name="connsiteY91" fmla="*/ 310006 h 420659"/>
                <a:gd name="connsiteX92" fmla="*/ 3437261 w 3817880"/>
                <a:gd name="connsiteY92" fmla="*/ 325980 h 420659"/>
                <a:gd name="connsiteX93" fmla="*/ 3339284 w 3817880"/>
                <a:gd name="connsiteY93" fmla="*/ 325980 h 420659"/>
                <a:gd name="connsiteX94" fmla="*/ 3339284 w 3817880"/>
                <a:gd name="connsiteY94" fmla="*/ 310006 h 420659"/>
                <a:gd name="connsiteX95" fmla="*/ 3361648 w 3817880"/>
                <a:gd name="connsiteY95" fmla="*/ 307876 h 420659"/>
                <a:gd name="connsiteX96" fmla="*/ 3369635 w 3817880"/>
                <a:gd name="connsiteY96" fmla="*/ 299889 h 420659"/>
                <a:gd name="connsiteX97" fmla="*/ 3369635 w 3817880"/>
                <a:gd name="connsiteY97" fmla="*/ 142275 h 420659"/>
                <a:gd name="connsiteX98" fmla="*/ 3339284 w 3817880"/>
                <a:gd name="connsiteY98" fmla="*/ 142275 h 420659"/>
                <a:gd name="connsiteX99" fmla="*/ 3339284 w 3817880"/>
                <a:gd name="connsiteY99" fmla="*/ 127365 h 420659"/>
                <a:gd name="connsiteX100" fmla="*/ 3389870 w 3817880"/>
                <a:gd name="connsiteY100" fmla="*/ 112988 h 420659"/>
                <a:gd name="connsiteX101" fmla="*/ 3389870 w 3817880"/>
                <a:gd name="connsiteY101" fmla="*/ 112988 h 420659"/>
                <a:gd name="connsiteX102" fmla="*/ 3390934 w 3817880"/>
                <a:gd name="connsiteY102" fmla="*/ 15012 h 420659"/>
                <a:gd name="connsiteX103" fmla="*/ 3409039 w 3817880"/>
                <a:gd name="connsiteY103" fmla="*/ 22999 h 420659"/>
                <a:gd name="connsiteX104" fmla="*/ 3417026 w 3817880"/>
                <a:gd name="connsiteY104" fmla="*/ 41104 h 420659"/>
                <a:gd name="connsiteX105" fmla="*/ 3409039 w 3817880"/>
                <a:gd name="connsiteY105" fmla="*/ 58143 h 420659"/>
                <a:gd name="connsiteX106" fmla="*/ 3390934 w 3817880"/>
                <a:gd name="connsiteY106" fmla="*/ 66130 h 420659"/>
                <a:gd name="connsiteX107" fmla="*/ 3372830 w 3817880"/>
                <a:gd name="connsiteY107" fmla="*/ 58143 h 420659"/>
                <a:gd name="connsiteX108" fmla="*/ 3365908 w 3817880"/>
                <a:gd name="connsiteY108" fmla="*/ 41104 h 420659"/>
                <a:gd name="connsiteX109" fmla="*/ 3372830 w 3817880"/>
                <a:gd name="connsiteY109" fmla="*/ 22999 h 420659"/>
                <a:gd name="connsiteX110" fmla="*/ 3390934 w 3817880"/>
                <a:gd name="connsiteY110" fmla="*/ 15012 h 420659"/>
                <a:gd name="connsiteX111" fmla="*/ 3390934 w 3817880"/>
                <a:gd name="connsiteY111" fmla="*/ 15012 h 420659"/>
                <a:gd name="connsiteX112" fmla="*/ 3484651 w 3817880"/>
                <a:gd name="connsiteY112" fmla="*/ 140677 h 420659"/>
                <a:gd name="connsiteX113" fmla="*/ 3457494 w 3817880"/>
                <a:gd name="connsiteY113" fmla="*/ 140677 h 420659"/>
                <a:gd name="connsiteX114" fmla="*/ 3457494 w 3817880"/>
                <a:gd name="connsiteY114" fmla="*/ 127365 h 420659"/>
                <a:gd name="connsiteX115" fmla="*/ 3485716 w 3817880"/>
                <a:gd name="connsiteY115" fmla="*/ 114053 h 420659"/>
                <a:gd name="connsiteX116" fmla="*/ 3504885 w 3817880"/>
                <a:gd name="connsiteY116" fmla="*/ 73585 h 420659"/>
                <a:gd name="connsiteX117" fmla="*/ 3521924 w 3817880"/>
                <a:gd name="connsiteY117" fmla="*/ 73585 h 420659"/>
                <a:gd name="connsiteX118" fmla="*/ 3521924 w 3817880"/>
                <a:gd name="connsiteY118" fmla="*/ 120975 h 420659"/>
                <a:gd name="connsiteX119" fmla="*/ 3588484 w 3817880"/>
                <a:gd name="connsiteY119" fmla="*/ 120975 h 420659"/>
                <a:gd name="connsiteX120" fmla="*/ 3588484 w 3817880"/>
                <a:gd name="connsiteY120" fmla="*/ 141210 h 420659"/>
                <a:gd name="connsiteX121" fmla="*/ 3521924 w 3817880"/>
                <a:gd name="connsiteY121" fmla="*/ 141210 h 420659"/>
                <a:gd name="connsiteX122" fmla="*/ 3521924 w 3817880"/>
                <a:gd name="connsiteY122" fmla="*/ 256225 h 420659"/>
                <a:gd name="connsiteX123" fmla="*/ 3529912 w 3817880"/>
                <a:gd name="connsiteY123" fmla="*/ 294564 h 420659"/>
                <a:gd name="connsiteX124" fmla="*/ 3558133 w 3817880"/>
                <a:gd name="connsiteY124" fmla="*/ 304681 h 420659"/>
                <a:gd name="connsiteX125" fmla="*/ 3573043 w 3817880"/>
                <a:gd name="connsiteY125" fmla="*/ 303616 h 420659"/>
                <a:gd name="connsiteX126" fmla="*/ 3589017 w 3817880"/>
                <a:gd name="connsiteY126" fmla="*/ 301486 h 420659"/>
                <a:gd name="connsiteX127" fmla="*/ 3589017 w 3817880"/>
                <a:gd name="connsiteY127" fmla="*/ 317461 h 420659"/>
                <a:gd name="connsiteX128" fmla="*/ 3559731 w 3817880"/>
                <a:gd name="connsiteY128" fmla="*/ 325448 h 420659"/>
                <a:gd name="connsiteX129" fmla="*/ 3531509 w 3817880"/>
                <a:gd name="connsiteY129" fmla="*/ 327578 h 420659"/>
                <a:gd name="connsiteX130" fmla="*/ 3495300 w 3817880"/>
                <a:gd name="connsiteY130" fmla="*/ 317461 h 420659"/>
                <a:gd name="connsiteX131" fmla="*/ 3485184 w 3817880"/>
                <a:gd name="connsiteY131" fmla="*/ 282317 h 420659"/>
                <a:gd name="connsiteX132" fmla="*/ 3485184 w 3817880"/>
                <a:gd name="connsiteY132" fmla="*/ 140677 h 420659"/>
                <a:gd name="connsiteX133" fmla="*/ 3484651 w 3817880"/>
                <a:gd name="connsiteY133" fmla="*/ 140677 h 420659"/>
                <a:gd name="connsiteX134" fmla="*/ 3592744 w 3817880"/>
                <a:gd name="connsiteY134" fmla="*/ 114053 h 420659"/>
                <a:gd name="connsiteX135" fmla="*/ 3687526 w 3817880"/>
                <a:gd name="connsiteY135" fmla="*/ 114053 h 420659"/>
                <a:gd name="connsiteX136" fmla="*/ 3687526 w 3817880"/>
                <a:gd name="connsiteY136" fmla="*/ 131093 h 420659"/>
                <a:gd name="connsiteX137" fmla="*/ 3665162 w 3817880"/>
                <a:gd name="connsiteY137" fmla="*/ 132158 h 420659"/>
                <a:gd name="connsiteX138" fmla="*/ 3659304 w 3817880"/>
                <a:gd name="connsiteY138" fmla="*/ 140145 h 420659"/>
                <a:gd name="connsiteX139" fmla="*/ 3712020 w 3817880"/>
                <a:gd name="connsiteY139" fmla="*/ 276460 h 420659"/>
                <a:gd name="connsiteX140" fmla="*/ 3765800 w 3817880"/>
                <a:gd name="connsiteY140" fmla="*/ 140145 h 420659"/>
                <a:gd name="connsiteX141" fmla="*/ 3762606 w 3817880"/>
                <a:gd name="connsiteY141" fmla="*/ 132158 h 420659"/>
                <a:gd name="connsiteX142" fmla="*/ 3739176 w 3817880"/>
                <a:gd name="connsiteY142" fmla="*/ 131093 h 420659"/>
                <a:gd name="connsiteX143" fmla="*/ 3739176 w 3817880"/>
                <a:gd name="connsiteY143" fmla="*/ 114053 h 420659"/>
                <a:gd name="connsiteX144" fmla="*/ 3817984 w 3817880"/>
                <a:gd name="connsiteY144" fmla="*/ 114053 h 420659"/>
                <a:gd name="connsiteX145" fmla="*/ 3817984 w 3817880"/>
                <a:gd name="connsiteY145" fmla="*/ 131093 h 420659"/>
                <a:gd name="connsiteX146" fmla="*/ 3791892 w 3817880"/>
                <a:gd name="connsiteY146" fmla="*/ 134287 h 420659"/>
                <a:gd name="connsiteX147" fmla="*/ 3704033 w 3817880"/>
                <a:gd name="connsiteY147" fmla="*/ 347279 h 420659"/>
                <a:gd name="connsiteX148" fmla="*/ 3671552 w 3817880"/>
                <a:gd name="connsiteY148" fmla="*/ 403722 h 420659"/>
                <a:gd name="connsiteX149" fmla="*/ 3634278 w 3817880"/>
                <a:gd name="connsiteY149" fmla="*/ 420762 h 420659"/>
                <a:gd name="connsiteX150" fmla="*/ 3611914 w 3817880"/>
                <a:gd name="connsiteY150" fmla="*/ 413839 h 420659"/>
                <a:gd name="connsiteX151" fmla="*/ 3603926 w 3817880"/>
                <a:gd name="connsiteY151" fmla="*/ 396800 h 420659"/>
                <a:gd name="connsiteX152" fmla="*/ 3606056 w 3817880"/>
                <a:gd name="connsiteY152" fmla="*/ 384553 h 420659"/>
                <a:gd name="connsiteX153" fmla="*/ 3615108 w 3817880"/>
                <a:gd name="connsiteY153" fmla="*/ 373371 h 420659"/>
                <a:gd name="connsiteX154" fmla="*/ 3656642 w 3817880"/>
                <a:gd name="connsiteY154" fmla="*/ 389345 h 420659"/>
                <a:gd name="connsiteX155" fmla="*/ 3675811 w 3817880"/>
                <a:gd name="connsiteY155" fmla="*/ 362189 h 420659"/>
                <a:gd name="connsiteX156" fmla="*/ 3692851 w 3817880"/>
                <a:gd name="connsiteY156" fmla="*/ 323850 h 420659"/>
                <a:gd name="connsiteX157" fmla="*/ 3618304 w 3817880"/>
                <a:gd name="connsiteY157" fmla="*/ 133755 h 420659"/>
                <a:gd name="connsiteX158" fmla="*/ 3592212 w 3817880"/>
                <a:gd name="connsiteY158" fmla="*/ 131625 h 420659"/>
                <a:gd name="connsiteX159" fmla="*/ 3592212 w 3817880"/>
                <a:gd name="connsiteY159" fmla="*/ 114053 h 420659"/>
                <a:gd name="connsiteX160" fmla="*/ 2548019 w 3817880"/>
                <a:gd name="connsiteY160" fmla="*/ 114053 h 420659"/>
                <a:gd name="connsiteX161" fmla="*/ 2643865 w 3817880"/>
                <a:gd name="connsiteY161" fmla="*/ 114053 h 420659"/>
                <a:gd name="connsiteX162" fmla="*/ 2643865 w 3817880"/>
                <a:gd name="connsiteY162" fmla="*/ 131093 h 420659"/>
                <a:gd name="connsiteX163" fmla="*/ 2620436 w 3817880"/>
                <a:gd name="connsiteY163" fmla="*/ 132158 h 420659"/>
                <a:gd name="connsiteX164" fmla="*/ 2616176 w 3817880"/>
                <a:gd name="connsiteY164" fmla="*/ 140145 h 420659"/>
                <a:gd name="connsiteX165" fmla="*/ 2666762 w 3817880"/>
                <a:gd name="connsiteY165" fmla="*/ 283382 h 420659"/>
                <a:gd name="connsiteX166" fmla="*/ 2723205 w 3817880"/>
                <a:gd name="connsiteY166" fmla="*/ 140145 h 420659"/>
                <a:gd name="connsiteX167" fmla="*/ 2720010 w 3817880"/>
                <a:gd name="connsiteY167" fmla="*/ 132158 h 420659"/>
                <a:gd name="connsiteX168" fmla="*/ 2696581 w 3817880"/>
                <a:gd name="connsiteY168" fmla="*/ 131093 h 420659"/>
                <a:gd name="connsiteX169" fmla="*/ 2696581 w 3817880"/>
                <a:gd name="connsiteY169" fmla="*/ 114053 h 420659"/>
                <a:gd name="connsiteX170" fmla="*/ 2773258 w 3817880"/>
                <a:gd name="connsiteY170" fmla="*/ 114053 h 420659"/>
                <a:gd name="connsiteX171" fmla="*/ 2773258 w 3817880"/>
                <a:gd name="connsiteY171" fmla="*/ 131093 h 420659"/>
                <a:gd name="connsiteX172" fmla="*/ 2748231 w 3817880"/>
                <a:gd name="connsiteY172" fmla="*/ 134287 h 420659"/>
                <a:gd name="connsiteX173" fmla="*/ 2671554 w 3817880"/>
                <a:gd name="connsiteY173" fmla="*/ 325448 h 420659"/>
                <a:gd name="connsiteX174" fmla="*/ 2646528 w 3817880"/>
                <a:gd name="connsiteY174" fmla="*/ 325448 h 420659"/>
                <a:gd name="connsiteX175" fmla="*/ 2575708 w 3817880"/>
                <a:gd name="connsiteY175" fmla="*/ 132690 h 420659"/>
                <a:gd name="connsiteX176" fmla="*/ 2548552 w 3817880"/>
                <a:gd name="connsiteY176" fmla="*/ 130560 h 420659"/>
                <a:gd name="connsiteX177" fmla="*/ 2548552 w 3817880"/>
                <a:gd name="connsiteY177" fmla="*/ 114053 h 420659"/>
                <a:gd name="connsiteX178" fmla="*/ 2548019 w 3817880"/>
                <a:gd name="connsiteY178" fmla="*/ 114053 h 420659"/>
                <a:gd name="connsiteX179" fmla="*/ 2873364 w 3817880"/>
                <a:gd name="connsiteY179" fmla="*/ 110326 h 420659"/>
                <a:gd name="connsiteX180" fmla="*/ 2873364 w 3817880"/>
                <a:gd name="connsiteY180" fmla="*/ 129495 h 420659"/>
                <a:gd name="connsiteX181" fmla="*/ 2839818 w 3817880"/>
                <a:gd name="connsiteY181" fmla="*/ 147599 h 420659"/>
                <a:gd name="connsiteX182" fmla="*/ 2822779 w 3817880"/>
                <a:gd name="connsiteY182" fmla="*/ 191263 h 420659"/>
                <a:gd name="connsiteX183" fmla="*/ 2873364 w 3817880"/>
                <a:gd name="connsiteY183" fmla="*/ 191263 h 420659"/>
                <a:gd name="connsiteX184" fmla="*/ 2873364 w 3817880"/>
                <a:gd name="connsiteY184" fmla="*/ 209367 h 420659"/>
                <a:gd name="connsiteX185" fmla="*/ 2820649 w 3817880"/>
                <a:gd name="connsiteY185" fmla="*/ 209367 h 420659"/>
                <a:gd name="connsiteX186" fmla="*/ 2820649 w 3817880"/>
                <a:gd name="connsiteY186" fmla="*/ 215224 h 420659"/>
                <a:gd name="connsiteX187" fmla="*/ 2839818 w 3817880"/>
                <a:gd name="connsiteY187" fmla="*/ 280719 h 420659"/>
                <a:gd name="connsiteX188" fmla="*/ 2873364 w 3817880"/>
                <a:gd name="connsiteY188" fmla="*/ 302019 h 420659"/>
                <a:gd name="connsiteX189" fmla="*/ 2873364 w 3817880"/>
                <a:gd name="connsiteY189" fmla="*/ 329175 h 420659"/>
                <a:gd name="connsiteX190" fmla="*/ 2808934 w 3817880"/>
                <a:gd name="connsiteY190" fmla="*/ 299889 h 420659"/>
                <a:gd name="connsiteX191" fmla="*/ 2781778 w 3817880"/>
                <a:gd name="connsiteY191" fmla="*/ 221082 h 420659"/>
                <a:gd name="connsiteX192" fmla="*/ 2809999 w 3817880"/>
                <a:gd name="connsiteY192" fmla="*/ 141210 h 420659"/>
                <a:gd name="connsiteX193" fmla="*/ 2873364 w 3817880"/>
                <a:gd name="connsiteY193" fmla="*/ 110326 h 420659"/>
                <a:gd name="connsiteX194" fmla="*/ 2873364 w 3817880"/>
                <a:gd name="connsiteY194" fmla="*/ 110326 h 420659"/>
                <a:gd name="connsiteX195" fmla="*/ 1632686 w 3817880"/>
                <a:gd name="connsiteY195" fmla="*/ 323318 h 420659"/>
                <a:gd name="connsiteX196" fmla="*/ 1632686 w 3817880"/>
                <a:gd name="connsiteY196" fmla="*/ 304149 h 420659"/>
                <a:gd name="connsiteX197" fmla="*/ 1647063 w 3817880"/>
                <a:gd name="connsiteY197" fmla="*/ 299889 h 420659"/>
                <a:gd name="connsiteX198" fmla="*/ 1677414 w 3817880"/>
                <a:gd name="connsiteY198" fmla="*/ 285512 h 420659"/>
                <a:gd name="connsiteX199" fmla="*/ 1677414 w 3817880"/>
                <a:gd name="connsiteY199" fmla="*/ 207237 h 420659"/>
                <a:gd name="connsiteX200" fmla="*/ 1632153 w 3817880"/>
                <a:gd name="connsiteY200" fmla="*/ 222147 h 420659"/>
                <a:gd name="connsiteX201" fmla="*/ 1632153 w 3817880"/>
                <a:gd name="connsiteY201" fmla="*/ 204042 h 420659"/>
                <a:gd name="connsiteX202" fmla="*/ 1677414 w 3817880"/>
                <a:gd name="connsiteY202" fmla="*/ 192860 h 420659"/>
                <a:gd name="connsiteX203" fmla="*/ 1677414 w 3817880"/>
                <a:gd name="connsiteY203" fmla="*/ 178483 h 420659"/>
                <a:gd name="connsiteX204" fmla="*/ 1668362 w 3817880"/>
                <a:gd name="connsiteY204" fmla="*/ 140145 h 420659"/>
                <a:gd name="connsiteX205" fmla="*/ 1636946 w 3817880"/>
                <a:gd name="connsiteY205" fmla="*/ 130028 h 420659"/>
                <a:gd name="connsiteX206" fmla="*/ 1632686 w 3817880"/>
                <a:gd name="connsiteY206" fmla="*/ 130028 h 420659"/>
                <a:gd name="connsiteX207" fmla="*/ 1632686 w 3817880"/>
                <a:gd name="connsiteY207" fmla="*/ 110858 h 420659"/>
                <a:gd name="connsiteX208" fmla="*/ 1648660 w 3817880"/>
                <a:gd name="connsiteY208" fmla="*/ 109794 h 420659"/>
                <a:gd name="connsiteX209" fmla="*/ 1699246 w 3817880"/>
                <a:gd name="connsiteY209" fmla="*/ 125768 h 420659"/>
                <a:gd name="connsiteX210" fmla="*/ 1715220 w 3817880"/>
                <a:gd name="connsiteY210" fmla="*/ 174223 h 420659"/>
                <a:gd name="connsiteX211" fmla="*/ 1715220 w 3817880"/>
                <a:gd name="connsiteY211" fmla="*/ 300421 h 420659"/>
                <a:gd name="connsiteX212" fmla="*/ 1722143 w 3817880"/>
                <a:gd name="connsiteY212" fmla="*/ 308408 h 420659"/>
                <a:gd name="connsiteX213" fmla="*/ 1745572 w 3817880"/>
                <a:gd name="connsiteY213" fmla="*/ 310538 h 420659"/>
                <a:gd name="connsiteX214" fmla="*/ 1745572 w 3817880"/>
                <a:gd name="connsiteY214" fmla="*/ 326513 h 420659"/>
                <a:gd name="connsiteX215" fmla="*/ 1683804 w 3817880"/>
                <a:gd name="connsiteY215" fmla="*/ 326513 h 420659"/>
                <a:gd name="connsiteX216" fmla="*/ 1677947 w 3817880"/>
                <a:gd name="connsiteY216" fmla="*/ 300421 h 420659"/>
                <a:gd name="connsiteX217" fmla="*/ 1638543 w 3817880"/>
                <a:gd name="connsiteY217" fmla="*/ 321720 h 420659"/>
                <a:gd name="connsiteX218" fmla="*/ 1632686 w 3817880"/>
                <a:gd name="connsiteY218" fmla="*/ 323318 h 420659"/>
                <a:gd name="connsiteX219" fmla="*/ 1632686 w 3817880"/>
                <a:gd name="connsiteY219" fmla="*/ 323318 h 420659"/>
                <a:gd name="connsiteX220" fmla="*/ 2494771 w 3817880"/>
                <a:gd name="connsiteY220" fmla="*/ 15012 h 420659"/>
                <a:gd name="connsiteX221" fmla="*/ 2512875 w 3817880"/>
                <a:gd name="connsiteY221" fmla="*/ 22999 h 420659"/>
                <a:gd name="connsiteX222" fmla="*/ 2520862 w 3817880"/>
                <a:gd name="connsiteY222" fmla="*/ 41104 h 420659"/>
                <a:gd name="connsiteX223" fmla="*/ 2512875 w 3817880"/>
                <a:gd name="connsiteY223" fmla="*/ 58143 h 420659"/>
                <a:gd name="connsiteX224" fmla="*/ 2494771 w 3817880"/>
                <a:gd name="connsiteY224" fmla="*/ 66130 h 420659"/>
                <a:gd name="connsiteX225" fmla="*/ 2477731 w 3817880"/>
                <a:gd name="connsiteY225" fmla="*/ 58143 h 420659"/>
                <a:gd name="connsiteX226" fmla="*/ 2469744 w 3817880"/>
                <a:gd name="connsiteY226" fmla="*/ 41104 h 420659"/>
                <a:gd name="connsiteX227" fmla="*/ 2477731 w 3817880"/>
                <a:gd name="connsiteY227" fmla="*/ 22999 h 420659"/>
                <a:gd name="connsiteX228" fmla="*/ 2494771 w 3817880"/>
                <a:gd name="connsiteY228" fmla="*/ 15012 h 420659"/>
                <a:gd name="connsiteX229" fmla="*/ 2494771 w 3817880"/>
                <a:gd name="connsiteY229" fmla="*/ 15012 h 420659"/>
                <a:gd name="connsiteX230" fmla="*/ 2493706 w 3817880"/>
                <a:gd name="connsiteY230" fmla="*/ 112988 h 420659"/>
                <a:gd name="connsiteX231" fmla="*/ 2510745 w 3817880"/>
                <a:gd name="connsiteY231" fmla="*/ 112988 h 420659"/>
                <a:gd name="connsiteX232" fmla="*/ 2510745 w 3817880"/>
                <a:gd name="connsiteY232" fmla="*/ 299889 h 420659"/>
                <a:gd name="connsiteX233" fmla="*/ 2518732 w 3817880"/>
                <a:gd name="connsiteY233" fmla="*/ 307876 h 420659"/>
                <a:gd name="connsiteX234" fmla="*/ 2542162 w 3817880"/>
                <a:gd name="connsiteY234" fmla="*/ 310006 h 420659"/>
                <a:gd name="connsiteX235" fmla="*/ 2542162 w 3817880"/>
                <a:gd name="connsiteY235" fmla="*/ 325980 h 420659"/>
                <a:gd name="connsiteX236" fmla="*/ 2443120 w 3817880"/>
                <a:gd name="connsiteY236" fmla="*/ 325980 h 420659"/>
                <a:gd name="connsiteX237" fmla="*/ 2443120 w 3817880"/>
                <a:gd name="connsiteY237" fmla="*/ 310006 h 420659"/>
                <a:gd name="connsiteX238" fmla="*/ 2466549 w 3817880"/>
                <a:gd name="connsiteY238" fmla="*/ 307876 h 420659"/>
                <a:gd name="connsiteX239" fmla="*/ 2473472 w 3817880"/>
                <a:gd name="connsiteY239" fmla="*/ 299889 h 420659"/>
                <a:gd name="connsiteX240" fmla="*/ 2473472 w 3817880"/>
                <a:gd name="connsiteY240" fmla="*/ 142275 h 420659"/>
                <a:gd name="connsiteX241" fmla="*/ 2443120 w 3817880"/>
                <a:gd name="connsiteY241" fmla="*/ 142275 h 420659"/>
                <a:gd name="connsiteX242" fmla="*/ 2443120 w 3817880"/>
                <a:gd name="connsiteY242" fmla="*/ 127365 h 420659"/>
                <a:gd name="connsiteX243" fmla="*/ 2493706 w 3817880"/>
                <a:gd name="connsiteY243" fmla="*/ 112988 h 420659"/>
                <a:gd name="connsiteX244" fmla="*/ 2493706 w 3817880"/>
                <a:gd name="connsiteY244" fmla="*/ 112988 h 420659"/>
                <a:gd name="connsiteX245" fmla="*/ 2191790 w 3817880"/>
                <a:gd name="connsiteY245" fmla="*/ 325448 h 420659"/>
                <a:gd name="connsiteX246" fmla="*/ 2191790 w 3817880"/>
                <a:gd name="connsiteY246" fmla="*/ 309473 h 420659"/>
                <a:gd name="connsiteX247" fmla="*/ 2215219 w 3817880"/>
                <a:gd name="connsiteY247" fmla="*/ 307343 h 420659"/>
                <a:gd name="connsiteX248" fmla="*/ 2223206 w 3817880"/>
                <a:gd name="connsiteY248" fmla="*/ 299356 h 420659"/>
                <a:gd name="connsiteX249" fmla="*/ 2223206 w 3817880"/>
                <a:gd name="connsiteY249" fmla="*/ 141742 h 420659"/>
                <a:gd name="connsiteX250" fmla="*/ 2191790 w 3817880"/>
                <a:gd name="connsiteY250" fmla="*/ 141742 h 420659"/>
                <a:gd name="connsiteX251" fmla="*/ 2191790 w 3817880"/>
                <a:gd name="connsiteY251" fmla="*/ 127365 h 420659"/>
                <a:gd name="connsiteX252" fmla="*/ 2242376 w 3817880"/>
                <a:gd name="connsiteY252" fmla="*/ 112456 h 420659"/>
                <a:gd name="connsiteX253" fmla="*/ 2259415 w 3817880"/>
                <a:gd name="connsiteY253" fmla="*/ 112456 h 420659"/>
                <a:gd name="connsiteX254" fmla="*/ 2259415 w 3817880"/>
                <a:gd name="connsiteY254" fmla="*/ 135885 h 420659"/>
                <a:gd name="connsiteX255" fmla="*/ 2302013 w 3817880"/>
                <a:gd name="connsiteY255" fmla="*/ 115651 h 420659"/>
                <a:gd name="connsiteX256" fmla="*/ 2330235 w 3817880"/>
                <a:gd name="connsiteY256" fmla="*/ 108729 h 420659"/>
                <a:gd name="connsiteX257" fmla="*/ 2373898 w 3817880"/>
                <a:gd name="connsiteY257" fmla="*/ 126833 h 420659"/>
                <a:gd name="connsiteX258" fmla="*/ 2388275 w 3817880"/>
                <a:gd name="connsiteY258" fmla="*/ 176354 h 420659"/>
                <a:gd name="connsiteX259" fmla="*/ 2388275 w 3817880"/>
                <a:gd name="connsiteY259" fmla="*/ 298824 h 420659"/>
                <a:gd name="connsiteX260" fmla="*/ 2396262 w 3817880"/>
                <a:gd name="connsiteY260" fmla="*/ 306811 h 420659"/>
                <a:gd name="connsiteX261" fmla="*/ 2419691 w 3817880"/>
                <a:gd name="connsiteY261" fmla="*/ 308941 h 420659"/>
                <a:gd name="connsiteX262" fmla="*/ 2419691 w 3817880"/>
                <a:gd name="connsiteY262" fmla="*/ 324915 h 420659"/>
                <a:gd name="connsiteX263" fmla="*/ 2323845 w 3817880"/>
                <a:gd name="connsiteY263" fmla="*/ 324915 h 420659"/>
                <a:gd name="connsiteX264" fmla="*/ 2323845 w 3817880"/>
                <a:gd name="connsiteY264" fmla="*/ 308941 h 420659"/>
                <a:gd name="connsiteX265" fmla="*/ 2344079 w 3817880"/>
                <a:gd name="connsiteY265" fmla="*/ 306811 h 420659"/>
                <a:gd name="connsiteX266" fmla="*/ 2352066 w 3817880"/>
                <a:gd name="connsiteY266" fmla="*/ 298824 h 420659"/>
                <a:gd name="connsiteX267" fmla="*/ 2352066 w 3817880"/>
                <a:gd name="connsiteY267" fmla="*/ 182743 h 420659"/>
                <a:gd name="connsiteX268" fmla="*/ 2341949 w 3817880"/>
                <a:gd name="connsiteY268" fmla="*/ 147599 h 420659"/>
                <a:gd name="connsiteX269" fmla="*/ 2308403 w 3817880"/>
                <a:gd name="connsiteY269" fmla="*/ 137482 h 420659"/>
                <a:gd name="connsiteX270" fmla="*/ 2284974 w 3817880"/>
                <a:gd name="connsiteY270" fmla="*/ 140677 h 420659"/>
                <a:gd name="connsiteX271" fmla="*/ 2258882 w 3817880"/>
                <a:gd name="connsiteY271" fmla="*/ 151859 h 420659"/>
                <a:gd name="connsiteX272" fmla="*/ 2258882 w 3817880"/>
                <a:gd name="connsiteY272" fmla="*/ 298291 h 420659"/>
                <a:gd name="connsiteX273" fmla="*/ 2266870 w 3817880"/>
                <a:gd name="connsiteY273" fmla="*/ 306279 h 420659"/>
                <a:gd name="connsiteX274" fmla="*/ 2287104 w 3817880"/>
                <a:gd name="connsiteY274" fmla="*/ 308408 h 420659"/>
                <a:gd name="connsiteX275" fmla="*/ 2287104 w 3817880"/>
                <a:gd name="connsiteY275" fmla="*/ 324383 h 420659"/>
                <a:gd name="connsiteX276" fmla="*/ 2191790 w 3817880"/>
                <a:gd name="connsiteY276" fmla="*/ 324383 h 420659"/>
                <a:gd name="connsiteX277" fmla="*/ 2191790 w 3817880"/>
                <a:gd name="connsiteY277" fmla="*/ 325448 h 420659"/>
                <a:gd name="connsiteX278" fmla="*/ 1885614 w 3817880"/>
                <a:gd name="connsiteY278" fmla="*/ 31519 h 420659"/>
                <a:gd name="connsiteX279" fmla="*/ 1992642 w 3817880"/>
                <a:gd name="connsiteY279" fmla="*/ 31519 h 420659"/>
                <a:gd name="connsiteX280" fmla="*/ 1992642 w 3817880"/>
                <a:gd name="connsiteY280" fmla="*/ 48558 h 420659"/>
                <a:gd name="connsiteX281" fmla="*/ 1965486 w 3817880"/>
                <a:gd name="connsiteY281" fmla="*/ 50688 h 420659"/>
                <a:gd name="connsiteX282" fmla="*/ 1958563 w 3817880"/>
                <a:gd name="connsiteY282" fmla="*/ 57610 h 420659"/>
                <a:gd name="connsiteX283" fmla="*/ 1958563 w 3817880"/>
                <a:gd name="connsiteY283" fmla="*/ 216289 h 420659"/>
                <a:gd name="connsiteX284" fmla="*/ 1976668 w 3817880"/>
                <a:gd name="connsiteY284" fmla="*/ 282849 h 420659"/>
                <a:gd name="connsiteX285" fmla="*/ 2036306 w 3817880"/>
                <a:gd name="connsiteY285" fmla="*/ 303084 h 420659"/>
                <a:gd name="connsiteX286" fmla="*/ 2095944 w 3817880"/>
                <a:gd name="connsiteY286" fmla="*/ 282849 h 420659"/>
                <a:gd name="connsiteX287" fmla="*/ 2114048 w 3817880"/>
                <a:gd name="connsiteY287" fmla="*/ 216289 h 420659"/>
                <a:gd name="connsiteX288" fmla="*/ 2114048 w 3817880"/>
                <a:gd name="connsiteY288" fmla="*/ 60805 h 420659"/>
                <a:gd name="connsiteX289" fmla="*/ 2106061 w 3817880"/>
                <a:gd name="connsiteY289" fmla="*/ 52818 h 420659"/>
                <a:gd name="connsiteX290" fmla="*/ 2078904 w 3817880"/>
                <a:gd name="connsiteY290" fmla="*/ 48558 h 420659"/>
                <a:gd name="connsiteX291" fmla="*/ 2078904 w 3817880"/>
                <a:gd name="connsiteY291" fmla="*/ 31519 h 420659"/>
                <a:gd name="connsiteX292" fmla="*/ 2172088 w 3817880"/>
                <a:gd name="connsiteY292" fmla="*/ 31519 h 420659"/>
                <a:gd name="connsiteX293" fmla="*/ 2172088 w 3817880"/>
                <a:gd name="connsiteY293" fmla="*/ 48558 h 420659"/>
                <a:gd name="connsiteX294" fmla="*/ 2144932 w 3817880"/>
                <a:gd name="connsiteY294" fmla="*/ 52818 h 420659"/>
                <a:gd name="connsiteX295" fmla="*/ 2136944 w 3817880"/>
                <a:gd name="connsiteY295" fmla="*/ 60805 h 420659"/>
                <a:gd name="connsiteX296" fmla="*/ 2136944 w 3817880"/>
                <a:gd name="connsiteY296" fmla="*/ 219484 h 420659"/>
                <a:gd name="connsiteX297" fmla="*/ 2132685 w 3817880"/>
                <a:gd name="connsiteY297" fmla="*/ 267940 h 420659"/>
                <a:gd name="connsiteX298" fmla="*/ 2118308 w 3817880"/>
                <a:gd name="connsiteY298" fmla="*/ 297226 h 420659"/>
                <a:gd name="connsiteX299" fmla="*/ 2081034 w 3817880"/>
                <a:gd name="connsiteY299" fmla="*/ 320655 h 420659"/>
                <a:gd name="connsiteX300" fmla="*/ 2028319 w 3817880"/>
                <a:gd name="connsiteY300" fmla="*/ 329708 h 420659"/>
                <a:gd name="connsiteX301" fmla="*/ 1974538 w 3817880"/>
                <a:gd name="connsiteY301" fmla="*/ 320655 h 420659"/>
                <a:gd name="connsiteX302" fmla="*/ 1937264 w 3817880"/>
                <a:gd name="connsiteY302" fmla="*/ 297226 h 420659"/>
                <a:gd name="connsiteX303" fmla="*/ 1922888 w 3817880"/>
                <a:gd name="connsiteY303" fmla="*/ 267940 h 420659"/>
                <a:gd name="connsiteX304" fmla="*/ 1918627 w 3817880"/>
                <a:gd name="connsiteY304" fmla="*/ 219484 h 420659"/>
                <a:gd name="connsiteX305" fmla="*/ 1918627 w 3817880"/>
                <a:gd name="connsiteY305" fmla="*/ 57610 h 420659"/>
                <a:gd name="connsiteX306" fmla="*/ 1910640 w 3817880"/>
                <a:gd name="connsiteY306" fmla="*/ 50688 h 420659"/>
                <a:gd name="connsiteX307" fmla="*/ 1885614 w 3817880"/>
                <a:gd name="connsiteY307" fmla="*/ 48558 h 420659"/>
                <a:gd name="connsiteX308" fmla="*/ 1885614 w 3817880"/>
                <a:gd name="connsiteY308" fmla="*/ 31519 h 420659"/>
                <a:gd name="connsiteX309" fmla="*/ 1632686 w 3817880"/>
                <a:gd name="connsiteY309" fmla="*/ 110326 h 420659"/>
                <a:gd name="connsiteX310" fmla="*/ 1632686 w 3817880"/>
                <a:gd name="connsiteY310" fmla="*/ 129495 h 420659"/>
                <a:gd name="connsiteX311" fmla="*/ 1621504 w 3817880"/>
                <a:gd name="connsiteY311" fmla="*/ 130560 h 420659"/>
                <a:gd name="connsiteX312" fmla="*/ 1604464 w 3817880"/>
                <a:gd name="connsiteY312" fmla="*/ 136418 h 420659"/>
                <a:gd name="connsiteX313" fmla="*/ 1604464 w 3817880"/>
                <a:gd name="connsiteY313" fmla="*/ 173691 h 420659"/>
                <a:gd name="connsiteX314" fmla="*/ 1574113 w 3817880"/>
                <a:gd name="connsiteY314" fmla="*/ 173691 h 420659"/>
                <a:gd name="connsiteX315" fmla="*/ 1562931 w 3817880"/>
                <a:gd name="connsiteY315" fmla="*/ 170496 h 420659"/>
                <a:gd name="connsiteX316" fmla="*/ 1560801 w 3817880"/>
                <a:gd name="connsiteY316" fmla="*/ 160379 h 420659"/>
                <a:gd name="connsiteX317" fmla="*/ 1584230 w 3817880"/>
                <a:gd name="connsiteY317" fmla="*/ 124170 h 420659"/>
                <a:gd name="connsiteX318" fmla="*/ 1632686 w 3817880"/>
                <a:gd name="connsiteY318" fmla="*/ 110326 h 420659"/>
                <a:gd name="connsiteX319" fmla="*/ 1632686 w 3817880"/>
                <a:gd name="connsiteY319" fmla="*/ 110326 h 420659"/>
                <a:gd name="connsiteX320" fmla="*/ 1632686 w 3817880"/>
                <a:gd name="connsiteY320" fmla="*/ 204042 h 420659"/>
                <a:gd name="connsiteX321" fmla="*/ 1632686 w 3817880"/>
                <a:gd name="connsiteY321" fmla="*/ 222147 h 420659"/>
                <a:gd name="connsiteX322" fmla="*/ 1605529 w 3817880"/>
                <a:gd name="connsiteY322" fmla="*/ 235459 h 420659"/>
                <a:gd name="connsiteX323" fmla="*/ 1587425 w 3817880"/>
                <a:gd name="connsiteY323" fmla="*/ 269005 h 420659"/>
                <a:gd name="connsiteX324" fmla="*/ 1597542 w 3817880"/>
                <a:gd name="connsiteY324" fmla="*/ 295096 h 420659"/>
                <a:gd name="connsiteX325" fmla="*/ 1623634 w 3817880"/>
                <a:gd name="connsiteY325" fmla="*/ 304149 h 420659"/>
                <a:gd name="connsiteX326" fmla="*/ 1632686 w 3817880"/>
                <a:gd name="connsiteY326" fmla="*/ 304149 h 420659"/>
                <a:gd name="connsiteX327" fmla="*/ 1632686 w 3817880"/>
                <a:gd name="connsiteY327" fmla="*/ 323318 h 420659"/>
                <a:gd name="connsiteX328" fmla="*/ 1605529 w 3817880"/>
                <a:gd name="connsiteY328" fmla="*/ 327578 h 420659"/>
                <a:gd name="connsiteX329" fmla="*/ 1565061 w 3817880"/>
                <a:gd name="connsiteY329" fmla="*/ 313201 h 420659"/>
                <a:gd name="connsiteX330" fmla="*/ 1549087 w 3817880"/>
                <a:gd name="connsiteY330" fmla="*/ 272732 h 420659"/>
                <a:gd name="connsiteX331" fmla="*/ 1572516 w 3817880"/>
                <a:gd name="connsiteY331" fmla="*/ 227471 h 420659"/>
                <a:gd name="connsiteX332" fmla="*/ 1632686 w 3817880"/>
                <a:gd name="connsiteY332" fmla="*/ 204042 h 420659"/>
                <a:gd name="connsiteX333" fmla="*/ 1632686 w 3817880"/>
                <a:gd name="connsiteY333" fmla="*/ 204042 h 420659"/>
                <a:gd name="connsiteX334" fmla="*/ 913306 w 3817880"/>
                <a:gd name="connsiteY334" fmla="*/ 420229 h 420659"/>
                <a:gd name="connsiteX335" fmla="*/ 913306 w 3817880"/>
                <a:gd name="connsiteY335" fmla="*/ 401060 h 420659"/>
                <a:gd name="connsiteX336" fmla="*/ 917565 w 3817880"/>
                <a:gd name="connsiteY336" fmla="*/ 401060 h 420659"/>
                <a:gd name="connsiteX337" fmla="*/ 963891 w 3817880"/>
                <a:gd name="connsiteY337" fmla="*/ 387748 h 420659"/>
                <a:gd name="connsiteX338" fmla="*/ 983061 w 3817880"/>
                <a:gd name="connsiteY338" fmla="*/ 354202 h 420659"/>
                <a:gd name="connsiteX339" fmla="*/ 975073 w 3817880"/>
                <a:gd name="connsiteY339" fmla="*/ 332903 h 420659"/>
                <a:gd name="connsiteX340" fmla="*/ 937800 w 3817880"/>
                <a:gd name="connsiteY340" fmla="*/ 320655 h 420659"/>
                <a:gd name="connsiteX341" fmla="*/ 912773 w 3817880"/>
                <a:gd name="connsiteY341" fmla="*/ 316396 h 420659"/>
                <a:gd name="connsiteX342" fmla="*/ 912773 w 3817880"/>
                <a:gd name="connsiteY342" fmla="*/ 284979 h 420659"/>
                <a:gd name="connsiteX343" fmla="*/ 940995 w 3817880"/>
                <a:gd name="connsiteY343" fmla="*/ 289239 h 420659"/>
                <a:gd name="connsiteX344" fmla="*/ 998502 w 3817880"/>
                <a:gd name="connsiteY344" fmla="*/ 308408 h 420659"/>
                <a:gd name="connsiteX345" fmla="*/ 1015542 w 3817880"/>
                <a:gd name="connsiteY345" fmla="*/ 343552 h 420659"/>
                <a:gd name="connsiteX346" fmla="*/ 1008620 w 3817880"/>
                <a:gd name="connsiteY346" fmla="*/ 369644 h 420659"/>
                <a:gd name="connsiteX347" fmla="*/ 988385 w 3817880"/>
                <a:gd name="connsiteY347" fmla="*/ 393073 h 420659"/>
                <a:gd name="connsiteX348" fmla="*/ 948982 w 3817880"/>
                <a:gd name="connsiteY348" fmla="*/ 414372 h 420659"/>
                <a:gd name="connsiteX349" fmla="*/ 913306 w 3817880"/>
                <a:gd name="connsiteY349" fmla="*/ 420229 h 420659"/>
                <a:gd name="connsiteX350" fmla="*/ 913306 w 3817880"/>
                <a:gd name="connsiteY350" fmla="*/ 420229 h 420659"/>
                <a:gd name="connsiteX351" fmla="*/ 913306 w 3817880"/>
                <a:gd name="connsiteY351" fmla="*/ 252498 h 420659"/>
                <a:gd name="connsiteX352" fmla="*/ 913306 w 3817880"/>
                <a:gd name="connsiteY352" fmla="*/ 234394 h 420659"/>
                <a:gd name="connsiteX353" fmla="*/ 913306 w 3817880"/>
                <a:gd name="connsiteY353" fmla="*/ 234394 h 420659"/>
                <a:gd name="connsiteX354" fmla="*/ 944722 w 3817880"/>
                <a:gd name="connsiteY354" fmla="*/ 219484 h 420659"/>
                <a:gd name="connsiteX355" fmla="*/ 955904 w 3817880"/>
                <a:gd name="connsiteY355" fmla="*/ 181146 h 420659"/>
                <a:gd name="connsiteX356" fmla="*/ 944722 w 3817880"/>
                <a:gd name="connsiteY356" fmla="*/ 141742 h 420659"/>
                <a:gd name="connsiteX357" fmla="*/ 913306 w 3817880"/>
                <a:gd name="connsiteY357" fmla="*/ 127365 h 420659"/>
                <a:gd name="connsiteX358" fmla="*/ 913306 w 3817880"/>
                <a:gd name="connsiteY358" fmla="*/ 127365 h 420659"/>
                <a:gd name="connsiteX359" fmla="*/ 913306 w 3817880"/>
                <a:gd name="connsiteY359" fmla="*/ 110326 h 420659"/>
                <a:gd name="connsiteX360" fmla="*/ 917565 w 3817880"/>
                <a:gd name="connsiteY360" fmla="*/ 109261 h 420659"/>
                <a:gd name="connsiteX361" fmla="*/ 942592 w 3817880"/>
                <a:gd name="connsiteY361" fmla="*/ 112456 h 420659"/>
                <a:gd name="connsiteX362" fmla="*/ 967619 w 3817880"/>
                <a:gd name="connsiteY362" fmla="*/ 122573 h 420659"/>
                <a:gd name="connsiteX363" fmla="*/ 1030451 w 3817880"/>
                <a:gd name="connsiteY363" fmla="*/ 122573 h 420659"/>
                <a:gd name="connsiteX364" fmla="*/ 1030451 w 3817880"/>
                <a:gd name="connsiteY364" fmla="*/ 142807 h 420659"/>
                <a:gd name="connsiteX365" fmla="*/ 981996 w 3817880"/>
                <a:gd name="connsiteY365" fmla="*/ 142807 h 420659"/>
                <a:gd name="connsiteX366" fmla="*/ 991048 w 3817880"/>
                <a:gd name="connsiteY366" fmla="*/ 161976 h 420659"/>
                <a:gd name="connsiteX367" fmla="*/ 994243 w 3817880"/>
                <a:gd name="connsiteY367" fmla="*/ 183276 h 420659"/>
                <a:gd name="connsiteX368" fmla="*/ 970813 w 3817880"/>
                <a:gd name="connsiteY368" fmla="*/ 232796 h 420659"/>
                <a:gd name="connsiteX369" fmla="*/ 913306 w 3817880"/>
                <a:gd name="connsiteY369" fmla="*/ 252498 h 420659"/>
                <a:gd name="connsiteX370" fmla="*/ 913306 w 3817880"/>
                <a:gd name="connsiteY370" fmla="*/ 252498 h 420659"/>
                <a:gd name="connsiteX371" fmla="*/ 1344082 w 3817880"/>
                <a:gd name="connsiteY371" fmla="*/ 109261 h 420659"/>
                <a:gd name="connsiteX372" fmla="*/ 1361121 w 3817880"/>
                <a:gd name="connsiteY372" fmla="*/ 109261 h 420659"/>
                <a:gd name="connsiteX373" fmla="*/ 1361121 w 3817880"/>
                <a:gd name="connsiteY373" fmla="*/ 254628 h 420659"/>
                <a:gd name="connsiteX374" fmla="*/ 1371238 w 3817880"/>
                <a:gd name="connsiteY374" fmla="*/ 290837 h 420659"/>
                <a:gd name="connsiteX375" fmla="*/ 1402655 w 3817880"/>
                <a:gd name="connsiteY375" fmla="*/ 302019 h 420659"/>
                <a:gd name="connsiteX376" fmla="*/ 1427681 w 3817880"/>
                <a:gd name="connsiteY376" fmla="*/ 298824 h 420659"/>
                <a:gd name="connsiteX377" fmla="*/ 1453773 w 3817880"/>
                <a:gd name="connsiteY377" fmla="*/ 288707 h 420659"/>
                <a:gd name="connsiteX378" fmla="*/ 1453773 w 3817880"/>
                <a:gd name="connsiteY378" fmla="*/ 140145 h 420659"/>
                <a:gd name="connsiteX379" fmla="*/ 1422889 w 3817880"/>
                <a:gd name="connsiteY379" fmla="*/ 140145 h 420659"/>
                <a:gd name="connsiteX380" fmla="*/ 1422889 w 3817880"/>
                <a:gd name="connsiteY380" fmla="*/ 126833 h 420659"/>
                <a:gd name="connsiteX381" fmla="*/ 1473474 w 3817880"/>
                <a:gd name="connsiteY381" fmla="*/ 109794 h 420659"/>
                <a:gd name="connsiteX382" fmla="*/ 1490514 w 3817880"/>
                <a:gd name="connsiteY382" fmla="*/ 109794 h 420659"/>
                <a:gd name="connsiteX383" fmla="*/ 1490514 w 3817880"/>
                <a:gd name="connsiteY383" fmla="*/ 299889 h 420659"/>
                <a:gd name="connsiteX384" fmla="*/ 1498501 w 3817880"/>
                <a:gd name="connsiteY384" fmla="*/ 307876 h 420659"/>
                <a:gd name="connsiteX385" fmla="*/ 1518735 w 3817880"/>
                <a:gd name="connsiteY385" fmla="*/ 310006 h 420659"/>
                <a:gd name="connsiteX386" fmla="*/ 1518735 w 3817880"/>
                <a:gd name="connsiteY386" fmla="*/ 325980 h 420659"/>
                <a:gd name="connsiteX387" fmla="*/ 1453240 w 3817880"/>
                <a:gd name="connsiteY387" fmla="*/ 325980 h 420659"/>
                <a:gd name="connsiteX388" fmla="*/ 1453240 w 3817880"/>
                <a:gd name="connsiteY388" fmla="*/ 300954 h 420659"/>
                <a:gd name="connsiteX389" fmla="*/ 1415967 w 3817880"/>
                <a:gd name="connsiteY389" fmla="*/ 322253 h 420659"/>
                <a:gd name="connsiteX390" fmla="*/ 1382421 w 3817880"/>
                <a:gd name="connsiteY390" fmla="*/ 329175 h 420659"/>
                <a:gd name="connsiteX391" fmla="*/ 1339822 w 3817880"/>
                <a:gd name="connsiteY391" fmla="*/ 312136 h 420659"/>
                <a:gd name="connsiteX392" fmla="*/ 1323848 w 3817880"/>
                <a:gd name="connsiteY392" fmla="*/ 262615 h 420659"/>
                <a:gd name="connsiteX393" fmla="*/ 1323848 w 3817880"/>
                <a:gd name="connsiteY393" fmla="*/ 140145 h 420659"/>
                <a:gd name="connsiteX394" fmla="*/ 1292431 w 3817880"/>
                <a:gd name="connsiteY394" fmla="*/ 140145 h 420659"/>
                <a:gd name="connsiteX395" fmla="*/ 1292431 w 3817880"/>
                <a:gd name="connsiteY395" fmla="*/ 126833 h 420659"/>
                <a:gd name="connsiteX396" fmla="*/ 1344082 w 3817880"/>
                <a:gd name="connsiteY396" fmla="*/ 109261 h 420659"/>
                <a:gd name="connsiteX397" fmla="*/ 1344082 w 3817880"/>
                <a:gd name="connsiteY397" fmla="*/ 109261 h 420659"/>
                <a:gd name="connsiteX398" fmla="*/ 1096479 w 3817880"/>
                <a:gd name="connsiteY398" fmla="*/ 2233 h 420659"/>
                <a:gd name="connsiteX399" fmla="*/ 1113518 w 3817880"/>
                <a:gd name="connsiteY399" fmla="*/ 2233 h 420659"/>
                <a:gd name="connsiteX400" fmla="*/ 1113518 w 3817880"/>
                <a:gd name="connsiteY400" fmla="*/ 136418 h 420659"/>
                <a:gd name="connsiteX401" fmla="*/ 1155052 w 3817880"/>
                <a:gd name="connsiteY401" fmla="*/ 116183 h 420659"/>
                <a:gd name="connsiteX402" fmla="*/ 1184338 w 3817880"/>
                <a:gd name="connsiteY402" fmla="*/ 109261 h 420659"/>
                <a:gd name="connsiteX403" fmla="*/ 1228001 w 3817880"/>
                <a:gd name="connsiteY403" fmla="*/ 127365 h 420659"/>
                <a:gd name="connsiteX404" fmla="*/ 1242911 w 3817880"/>
                <a:gd name="connsiteY404" fmla="*/ 176886 h 420659"/>
                <a:gd name="connsiteX405" fmla="*/ 1242911 w 3817880"/>
                <a:gd name="connsiteY405" fmla="*/ 299356 h 420659"/>
                <a:gd name="connsiteX406" fmla="*/ 1250898 w 3817880"/>
                <a:gd name="connsiteY406" fmla="*/ 307343 h 420659"/>
                <a:gd name="connsiteX407" fmla="*/ 1273262 w 3817880"/>
                <a:gd name="connsiteY407" fmla="*/ 309473 h 420659"/>
                <a:gd name="connsiteX408" fmla="*/ 1273262 w 3817880"/>
                <a:gd name="connsiteY408" fmla="*/ 325448 h 420659"/>
                <a:gd name="connsiteX409" fmla="*/ 1178480 w 3817880"/>
                <a:gd name="connsiteY409" fmla="*/ 325448 h 420659"/>
                <a:gd name="connsiteX410" fmla="*/ 1178480 w 3817880"/>
                <a:gd name="connsiteY410" fmla="*/ 309473 h 420659"/>
                <a:gd name="connsiteX411" fmla="*/ 1198715 w 3817880"/>
                <a:gd name="connsiteY411" fmla="*/ 307343 h 420659"/>
                <a:gd name="connsiteX412" fmla="*/ 1205637 w 3817880"/>
                <a:gd name="connsiteY412" fmla="*/ 299356 h 420659"/>
                <a:gd name="connsiteX413" fmla="*/ 1205637 w 3817880"/>
                <a:gd name="connsiteY413" fmla="*/ 183276 h 420659"/>
                <a:gd name="connsiteX414" fmla="*/ 1195520 w 3817880"/>
                <a:gd name="connsiteY414" fmla="*/ 148132 h 420659"/>
                <a:gd name="connsiteX415" fmla="*/ 1161974 w 3817880"/>
                <a:gd name="connsiteY415" fmla="*/ 138015 h 420659"/>
                <a:gd name="connsiteX416" fmla="*/ 1139610 w 3817880"/>
                <a:gd name="connsiteY416" fmla="*/ 141210 h 420659"/>
                <a:gd name="connsiteX417" fmla="*/ 1113518 w 3817880"/>
                <a:gd name="connsiteY417" fmla="*/ 152392 h 420659"/>
                <a:gd name="connsiteX418" fmla="*/ 1113518 w 3817880"/>
                <a:gd name="connsiteY418" fmla="*/ 298824 h 420659"/>
                <a:gd name="connsiteX419" fmla="*/ 1121505 w 3817880"/>
                <a:gd name="connsiteY419" fmla="*/ 306811 h 420659"/>
                <a:gd name="connsiteX420" fmla="*/ 1141740 w 3817880"/>
                <a:gd name="connsiteY420" fmla="*/ 308941 h 420659"/>
                <a:gd name="connsiteX421" fmla="*/ 1141740 w 3817880"/>
                <a:gd name="connsiteY421" fmla="*/ 324915 h 420659"/>
                <a:gd name="connsiteX422" fmla="*/ 1045893 w 3817880"/>
                <a:gd name="connsiteY422" fmla="*/ 324915 h 420659"/>
                <a:gd name="connsiteX423" fmla="*/ 1045893 w 3817880"/>
                <a:gd name="connsiteY423" fmla="*/ 308941 h 420659"/>
                <a:gd name="connsiteX424" fmla="*/ 1069322 w 3817880"/>
                <a:gd name="connsiteY424" fmla="*/ 306811 h 420659"/>
                <a:gd name="connsiteX425" fmla="*/ 1076245 w 3817880"/>
                <a:gd name="connsiteY425" fmla="*/ 298824 h 420659"/>
                <a:gd name="connsiteX426" fmla="*/ 1076245 w 3817880"/>
                <a:gd name="connsiteY426" fmla="*/ 31519 h 420659"/>
                <a:gd name="connsiteX427" fmla="*/ 1042698 w 3817880"/>
                <a:gd name="connsiteY427" fmla="*/ 31519 h 420659"/>
                <a:gd name="connsiteX428" fmla="*/ 1042698 w 3817880"/>
                <a:gd name="connsiteY428" fmla="*/ 18207 h 420659"/>
                <a:gd name="connsiteX429" fmla="*/ 1096479 w 3817880"/>
                <a:gd name="connsiteY429" fmla="*/ 2233 h 420659"/>
                <a:gd name="connsiteX430" fmla="*/ 913306 w 3817880"/>
                <a:gd name="connsiteY430" fmla="*/ 110326 h 420659"/>
                <a:gd name="connsiteX431" fmla="*/ 913306 w 3817880"/>
                <a:gd name="connsiteY431" fmla="*/ 127365 h 420659"/>
                <a:gd name="connsiteX432" fmla="*/ 881889 w 3817880"/>
                <a:gd name="connsiteY432" fmla="*/ 141742 h 420659"/>
                <a:gd name="connsiteX433" fmla="*/ 870707 w 3817880"/>
                <a:gd name="connsiteY433" fmla="*/ 181146 h 420659"/>
                <a:gd name="connsiteX434" fmla="*/ 882954 w 3817880"/>
                <a:gd name="connsiteY434" fmla="*/ 219484 h 420659"/>
                <a:gd name="connsiteX435" fmla="*/ 913306 w 3817880"/>
                <a:gd name="connsiteY435" fmla="*/ 234394 h 420659"/>
                <a:gd name="connsiteX436" fmla="*/ 913306 w 3817880"/>
                <a:gd name="connsiteY436" fmla="*/ 252498 h 420659"/>
                <a:gd name="connsiteX437" fmla="*/ 910111 w 3817880"/>
                <a:gd name="connsiteY437" fmla="*/ 252498 h 420659"/>
                <a:gd name="connsiteX438" fmla="*/ 903189 w 3817880"/>
                <a:gd name="connsiteY438" fmla="*/ 252498 h 420659"/>
                <a:gd name="connsiteX439" fmla="*/ 898929 w 3817880"/>
                <a:gd name="connsiteY439" fmla="*/ 261550 h 420659"/>
                <a:gd name="connsiteX440" fmla="*/ 897864 w 3817880"/>
                <a:gd name="connsiteY440" fmla="*/ 271667 h 420659"/>
                <a:gd name="connsiteX441" fmla="*/ 898929 w 3817880"/>
                <a:gd name="connsiteY441" fmla="*/ 278590 h 420659"/>
                <a:gd name="connsiteX442" fmla="*/ 898929 w 3817880"/>
                <a:gd name="connsiteY442" fmla="*/ 281784 h 420659"/>
                <a:gd name="connsiteX443" fmla="*/ 913838 w 3817880"/>
                <a:gd name="connsiteY443" fmla="*/ 283914 h 420659"/>
                <a:gd name="connsiteX444" fmla="*/ 913838 w 3817880"/>
                <a:gd name="connsiteY444" fmla="*/ 315331 h 420659"/>
                <a:gd name="connsiteX445" fmla="*/ 896799 w 3817880"/>
                <a:gd name="connsiteY445" fmla="*/ 312136 h 420659"/>
                <a:gd name="connsiteX446" fmla="*/ 868577 w 3817880"/>
                <a:gd name="connsiteY446" fmla="*/ 329175 h 420659"/>
                <a:gd name="connsiteX447" fmla="*/ 858460 w 3817880"/>
                <a:gd name="connsiteY447" fmla="*/ 355267 h 420659"/>
                <a:gd name="connsiteX448" fmla="*/ 875500 w 3817880"/>
                <a:gd name="connsiteY448" fmla="*/ 387748 h 420659"/>
                <a:gd name="connsiteX449" fmla="*/ 913838 w 3817880"/>
                <a:gd name="connsiteY449" fmla="*/ 401060 h 420659"/>
                <a:gd name="connsiteX450" fmla="*/ 913838 w 3817880"/>
                <a:gd name="connsiteY450" fmla="*/ 420229 h 420659"/>
                <a:gd name="connsiteX451" fmla="*/ 902656 w 3817880"/>
                <a:gd name="connsiteY451" fmla="*/ 420229 h 420659"/>
                <a:gd name="connsiteX452" fmla="*/ 845148 w 3817880"/>
                <a:gd name="connsiteY452" fmla="*/ 405852 h 420659"/>
                <a:gd name="connsiteX453" fmla="*/ 823849 w 3817880"/>
                <a:gd name="connsiteY453" fmla="*/ 364319 h 420659"/>
                <a:gd name="connsiteX454" fmla="*/ 836096 w 3817880"/>
                <a:gd name="connsiteY454" fmla="*/ 329175 h 420659"/>
                <a:gd name="connsiteX455" fmla="*/ 871240 w 3817880"/>
                <a:gd name="connsiteY455" fmla="*/ 310006 h 420659"/>
                <a:gd name="connsiteX456" fmla="*/ 868045 w 3817880"/>
                <a:gd name="connsiteY456" fmla="*/ 299889 h 420659"/>
                <a:gd name="connsiteX457" fmla="*/ 866980 w 3817880"/>
                <a:gd name="connsiteY457" fmla="*/ 289772 h 420659"/>
                <a:gd name="connsiteX458" fmla="*/ 872837 w 3817880"/>
                <a:gd name="connsiteY458" fmla="*/ 271667 h 420659"/>
                <a:gd name="connsiteX459" fmla="*/ 888812 w 3817880"/>
                <a:gd name="connsiteY459" fmla="*/ 249303 h 420659"/>
                <a:gd name="connsiteX460" fmla="*/ 848343 w 3817880"/>
                <a:gd name="connsiteY460" fmla="*/ 225874 h 420659"/>
                <a:gd name="connsiteX461" fmla="*/ 833966 w 3817880"/>
                <a:gd name="connsiteY461" fmla="*/ 183276 h 420659"/>
                <a:gd name="connsiteX462" fmla="*/ 857395 w 3817880"/>
                <a:gd name="connsiteY462" fmla="*/ 130560 h 420659"/>
                <a:gd name="connsiteX463" fmla="*/ 913306 w 3817880"/>
                <a:gd name="connsiteY463" fmla="*/ 110326 h 420659"/>
                <a:gd name="connsiteX464" fmla="*/ 913306 w 3817880"/>
                <a:gd name="connsiteY464" fmla="*/ 110326 h 420659"/>
                <a:gd name="connsiteX465" fmla="*/ 569856 w 3817880"/>
                <a:gd name="connsiteY465" fmla="*/ 325448 h 420659"/>
                <a:gd name="connsiteX466" fmla="*/ 569856 w 3817880"/>
                <a:gd name="connsiteY466" fmla="*/ 309473 h 420659"/>
                <a:gd name="connsiteX467" fmla="*/ 593285 w 3817880"/>
                <a:gd name="connsiteY467" fmla="*/ 307343 h 420659"/>
                <a:gd name="connsiteX468" fmla="*/ 601272 w 3817880"/>
                <a:gd name="connsiteY468" fmla="*/ 299356 h 420659"/>
                <a:gd name="connsiteX469" fmla="*/ 601272 w 3817880"/>
                <a:gd name="connsiteY469" fmla="*/ 141742 h 420659"/>
                <a:gd name="connsiteX470" fmla="*/ 569856 w 3817880"/>
                <a:gd name="connsiteY470" fmla="*/ 141742 h 420659"/>
                <a:gd name="connsiteX471" fmla="*/ 569856 w 3817880"/>
                <a:gd name="connsiteY471" fmla="*/ 127365 h 420659"/>
                <a:gd name="connsiteX472" fmla="*/ 620442 w 3817880"/>
                <a:gd name="connsiteY472" fmla="*/ 112456 h 420659"/>
                <a:gd name="connsiteX473" fmla="*/ 637481 w 3817880"/>
                <a:gd name="connsiteY473" fmla="*/ 112456 h 420659"/>
                <a:gd name="connsiteX474" fmla="*/ 637481 w 3817880"/>
                <a:gd name="connsiteY474" fmla="*/ 135885 h 420659"/>
                <a:gd name="connsiteX475" fmla="*/ 680079 w 3817880"/>
                <a:gd name="connsiteY475" fmla="*/ 115651 h 420659"/>
                <a:gd name="connsiteX476" fmla="*/ 708301 w 3817880"/>
                <a:gd name="connsiteY476" fmla="*/ 108729 h 420659"/>
                <a:gd name="connsiteX477" fmla="*/ 751964 w 3817880"/>
                <a:gd name="connsiteY477" fmla="*/ 126833 h 420659"/>
                <a:gd name="connsiteX478" fmla="*/ 766341 w 3817880"/>
                <a:gd name="connsiteY478" fmla="*/ 176354 h 420659"/>
                <a:gd name="connsiteX479" fmla="*/ 766341 w 3817880"/>
                <a:gd name="connsiteY479" fmla="*/ 298824 h 420659"/>
                <a:gd name="connsiteX480" fmla="*/ 774328 w 3817880"/>
                <a:gd name="connsiteY480" fmla="*/ 306811 h 420659"/>
                <a:gd name="connsiteX481" fmla="*/ 797757 w 3817880"/>
                <a:gd name="connsiteY481" fmla="*/ 308941 h 420659"/>
                <a:gd name="connsiteX482" fmla="*/ 797757 w 3817880"/>
                <a:gd name="connsiteY482" fmla="*/ 324915 h 420659"/>
                <a:gd name="connsiteX483" fmla="*/ 700846 w 3817880"/>
                <a:gd name="connsiteY483" fmla="*/ 324915 h 420659"/>
                <a:gd name="connsiteX484" fmla="*/ 700846 w 3817880"/>
                <a:gd name="connsiteY484" fmla="*/ 308941 h 420659"/>
                <a:gd name="connsiteX485" fmla="*/ 722145 w 3817880"/>
                <a:gd name="connsiteY485" fmla="*/ 306811 h 420659"/>
                <a:gd name="connsiteX486" fmla="*/ 730133 w 3817880"/>
                <a:gd name="connsiteY486" fmla="*/ 298824 h 420659"/>
                <a:gd name="connsiteX487" fmla="*/ 730133 w 3817880"/>
                <a:gd name="connsiteY487" fmla="*/ 182743 h 420659"/>
                <a:gd name="connsiteX488" fmla="*/ 720015 w 3817880"/>
                <a:gd name="connsiteY488" fmla="*/ 147599 h 420659"/>
                <a:gd name="connsiteX489" fmla="*/ 684872 w 3817880"/>
                <a:gd name="connsiteY489" fmla="*/ 137482 h 420659"/>
                <a:gd name="connsiteX490" fmla="*/ 662508 w 3817880"/>
                <a:gd name="connsiteY490" fmla="*/ 140677 h 420659"/>
                <a:gd name="connsiteX491" fmla="*/ 636416 w 3817880"/>
                <a:gd name="connsiteY491" fmla="*/ 151859 h 420659"/>
                <a:gd name="connsiteX492" fmla="*/ 636416 w 3817880"/>
                <a:gd name="connsiteY492" fmla="*/ 298291 h 420659"/>
                <a:gd name="connsiteX493" fmla="*/ 644403 w 3817880"/>
                <a:gd name="connsiteY493" fmla="*/ 306279 h 420659"/>
                <a:gd name="connsiteX494" fmla="*/ 664637 w 3817880"/>
                <a:gd name="connsiteY494" fmla="*/ 308408 h 420659"/>
                <a:gd name="connsiteX495" fmla="*/ 664637 w 3817880"/>
                <a:gd name="connsiteY495" fmla="*/ 324383 h 420659"/>
                <a:gd name="connsiteX496" fmla="*/ 569856 w 3817880"/>
                <a:gd name="connsiteY496" fmla="*/ 324383 h 420659"/>
                <a:gd name="connsiteX497" fmla="*/ 569856 w 3817880"/>
                <a:gd name="connsiteY497" fmla="*/ 325448 h 420659"/>
                <a:gd name="connsiteX498" fmla="*/ 501166 w 3817880"/>
                <a:gd name="connsiteY498" fmla="*/ 15012 h 420659"/>
                <a:gd name="connsiteX499" fmla="*/ 519270 w 3817880"/>
                <a:gd name="connsiteY499" fmla="*/ 22999 h 420659"/>
                <a:gd name="connsiteX500" fmla="*/ 527258 w 3817880"/>
                <a:gd name="connsiteY500" fmla="*/ 41104 h 420659"/>
                <a:gd name="connsiteX501" fmla="*/ 519270 w 3817880"/>
                <a:gd name="connsiteY501" fmla="*/ 58143 h 420659"/>
                <a:gd name="connsiteX502" fmla="*/ 501166 w 3817880"/>
                <a:gd name="connsiteY502" fmla="*/ 66130 h 420659"/>
                <a:gd name="connsiteX503" fmla="*/ 484127 w 3817880"/>
                <a:gd name="connsiteY503" fmla="*/ 58143 h 420659"/>
                <a:gd name="connsiteX504" fmla="*/ 476140 w 3817880"/>
                <a:gd name="connsiteY504" fmla="*/ 41104 h 420659"/>
                <a:gd name="connsiteX505" fmla="*/ 484127 w 3817880"/>
                <a:gd name="connsiteY505" fmla="*/ 22999 h 420659"/>
                <a:gd name="connsiteX506" fmla="*/ 501166 w 3817880"/>
                <a:gd name="connsiteY506" fmla="*/ 15012 h 420659"/>
                <a:gd name="connsiteX507" fmla="*/ 501166 w 3817880"/>
                <a:gd name="connsiteY507" fmla="*/ 15012 h 420659"/>
                <a:gd name="connsiteX508" fmla="*/ 500101 w 3817880"/>
                <a:gd name="connsiteY508" fmla="*/ 112988 h 420659"/>
                <a:gd name="connsiteX509" fmla="*/ 517141 w 3817880"/>
                <a:gd name="connsiteY509" fmla="*/ 112988 h 420659"/>
                <a:gd name="connsiteX510" fmla="*/ 517141 w 3817880"/>
                <a:gd name="connsiteY510" fmla="*/ 299889 h 420659"/>
                <a:gd name="connsiteX511" fmla="*/ 525128 w 3817880"/>
                <a:gd name="connsiteY511" fmla="*/ 307876 h 420659"/>
                <a:gd name="connsiteX512" fmla="*/ 547492 w 3817880"/>
                <a:gd name="connsiteY512" fmla="*/ 310006 h 420659"/>
                <a:gd name="connsiteX513" fmla="*/ 547492 w 3817880"/>
                <a:gd name="connsiteY513" fmla="*/ 325980 h 420659"/>
                <a:gd name="connsiteX514" fmla="*/ 449516 w 3817880"/>
                <a:gd name="connsiteY514" fmla="*/ 325980 h 420659"/>
                <a:gd name="connsiteX515" fmla="*/ 449516 w 3817880"/>
                <a:gd name="connsiteY515" fmla="*/ 310006 h 420659"/>
                <a:gd name="connsiteX516" fmla="*/ 472945 w 3817880"/>
                <a:gd name="connsiteY516" fmla="*/ 307876 h 420659"/>
                <a:gd name="connsiteX517" fmla="*/ 479867 w 3817880"/>
                <a:gd name="connsiteY517" fmla="*/ 299889 h 420659"/>
                <a:gd name="connsiteX518" fmla="*/ 479867 w 3817880"/>
                <a:gd name="connsiteY518" fmla="*/ 142275 h 420659"/>
                <a:gd name="connsiteX519" fmla="*/ 449516 w 3817880"/>
                <a:gd name="connsiteY519" fmla="*/ 142275 h 420659"/>
                <a:gd name="connsiteX520" fmla="*/ 449516 w 3817880"/>
                <a:gd name="connsiteY520" fmla="*/ 127365 h 420659"/>
                <a:gd name="connsiteX521" fmla="*/ 500101 w 3817880"/>
                <a:gd name="connsiteY521" fmla="*/ 112988 h 420659"/>
                <a:gd name="connsiteX522" fmla="*/ 500101 w 3817880"/>
                <a:gd name="connsiteY522" fmla="*/ 112988 h 420659"/>
                <a:gd name="connsiteX523" fmla="*/ 410112 w 3817880"/>
                <a:gd name="connsiteY523" fmla="*/ 119378 h 420659"/>
                <a:gd name="connsiteX524" fmla="*/ 410112 w 3817880"/>
                <a:gd name="connsiteY524" fmla="*/ 168899 h 420659"/>
                <a:gd name="connsiteX525" fmla="*/ 388813 w 3817880"/>
                <a:gd name="connsiteY525" fmla="*/ 168899 h 420659"/>
                <a:gd name="connsiteX526" fmla="*/ 384553 w 3817880"/>
                <a:gd name="connsiteY526" fmla="*/ 138547 h 420659"/>
                <a:gd name="connsiteX527" fmla="*/ 368579 w 3817880"/>
                <a:gd name="connsiteY527" fmla="*/ 130560 h 420659"/>
                <a:gd name="connsiteX528" fmla="*/ 352604 w 3817880"/>
                <a:gd name="connsiteY528" fmla="*/ 128430 h 420659"/>
                <a:gd name="connsiteX529" fmla="*/ 325448 w 3817880"/>
                <a:gd name="connsiteY529" fmla="*/ 137482 h 420659"/>
                <a:gd name="connsiteX530" fmla="*/ 315331 w 3817880"/>
                <a:gd name="connsiteY530" fmla="*/ 159847 h 420659"/>
                <a:gd name="connsiteX531" fmla="*/ 323318 w 3817880"/>
                <a:gd name="connsiteY531" fmla="*/ 181146 h 420659"/>
                <a:gd name="connsiteX532" fmla="*/ 352604 w 3817880"/>
                <a:gd name="connsiteY532" fmla="*/ 200315 h 420659"/>
                <a:gd name="connsiteX533" fmla="*/ 363786 w 3817880"/>
                <a:gd name="connsiteY533" fmla="*/ 204575 h 420659"/>
                <a:gd name="connsiteX534" fmla="*/ 399995 w 3817880"/>
                <a:gd name="connsiteY534" fmla="*/ 224809 h 420659"/>
                <a:gd name="connsiteX535" fmla="*/ 412242 w 3817880"/>
                <a:gd name="connsiteY535" fmla="*/ 241848 h 420659"/>
                <a:gd name="connsiteX536" fmla="*/ 415437 w 3817880"/>
                <a:gd name="connsiteY536" fmla="*/ 263148 h 420659"/>
                <a:gd name="connsiteX537" fmla="*/ 394138 w 3817880"/>
                <a:gd name="connsiteY537" fmla="*/ 311603 h 420659"/>
                <a:gd name="connsiteX538" fmla="*/ 334500 w 3817880"/>
                <a:gd name="connsiteY538" fmla="*/ 328643 h 420659"/>
                <a:gd name="connsiteX539" fmla="*/ 304149 w 3817880"/>
                <a:gd name="connsiteY539" fmla="*/ 326513 h 420659"/>
                <a:gd name="connsiteX540" fmla="*/ 276992 w 3817880"/>
                <a:gd name="connsiteY540" fmla="*/ 319591 h 420659"/>
                <a:gd name="connsiteX541" fmla="*/ 276992 w 3817880"/>
                <a:gd name="connsiteY541" fmla="*/ 262083 h 420659"/>
                <a:gd name="connsiteX542" fmla="*/ 298291 w 3817880"/>
                <a:gd name="connsiteY542" fmla="*/ 262083 h 420659"/>
                <a:gd name="connsiteX543" fmla="*/ 302551 w 3817880"/>
                <a:gd name="connsiteY543" fmla="*/ 299356 h 420659"/>
                <a:gd name="connsiteX544" fmla="*/ 321720 w 3817880"/>
                <a:gd name="connsiteY544" fmla="*/ 307343 h 420659"/>
                <a:gd name="connsiteX545" fmla="*/ 340890 w 3817880"/>
                <a:gd name="connsiteY545" fmla="*/ 310538 h 420659"/>
                <a:gd name="connsiteX546" fmla="*/ 370176 w 3817880"/>
                <a:gd name="connsiteY546" fmla="*/ 300421 h 420659"/>
                <a:gd name="connsiteX547" fmla="*/ 381358 w 3817880"/>
                <a:gd name="connsiteY547" fmla="*/ 274330 h 420659"/>
                <a:gd name="connsiteX548" fmla="*/ 373371 w 3817880"/>
                <a:gd name="connsiteY548" fmla="*/ 253031 h 420659"/>
                <a:gd name="connsiteX549" fmla="*/ 336097 w 3817880"/>
                <a:gd name="connsiteY549" fmla="*/ 230666 h 420659"/>
                <a:gd name="connsiteX550" fmla="*/ 292434 w 3817880"/>
                <a:gd name="connsiteY550" fmla="*/ 203510 h 420659"/>
                <a:gd name="connsiteX551" fmla="*/ 280187 w 3817880"/>
                <a:gd name="connsiteY551" fmla="*/ 171029 h 420659"/>
                <a:gd name="connsiteX552" fmla="*/ 300421 w 3817880"/>
                <a:gd name="connsiteY552" fmla="*/ 125768 h 420659"/>
                <a:gd name="connsiteX553" fmla="*/ 357929 w 3817880"/>
                <a:gd name="connsiteY553" fmla="*/ 108729 h 420659"/>
                <a:gd name="connsiteX554" fmla="*/ 386150 w 3817880"/>
                <a:gd name="connsiteY554" fmla="*/ 111923 h 420659"/>
                <a:gd name="connsiteX555" fmla="*/ 410112 w 3817880"/>
                <a:gd name="connsiteY555" fmla="*/ 119378 h 420659"/>
                <a:gd name="connsiteX556" fmla="*/ 410112 w 3817880"/>
                <a:gd name="connsiteY556" fmla="*/ 119378 h 420659"/>
                <a:gd name="connsiteX557" fmla="*/ 3297 w 3817880"/>
                <a:gd name="connsiteY557" fmla="*/ 31519 h 420659"/>
                <a:gd name="connsiteX558" fmla="*/ 250901 w 3817880"/>
                <a:gd name="connsiteY558" fmla="*/ 31519 h 420659"/>
                <a:gd name="connsiteX559" fmla="*/ 250901 w 3817880"/>
                <a:gd name="connsiteY559" fmla="*/ 98079 h 420659"/>
                <a:gd name="connsiteX560" fmla="*/ 227471 w 3817880"/>
                <a:gd name="connsiteY560" fmla="*/ 98079 h 420659"/>
                <a:gd name="connsiteX561" fmla="*/ 221614 w 3817880"/>
                <a:gd name="connsiteY561" fmla="*/ 57610 h 420659"/>
                <a:gd name="connsiteX562" fmla="*/ 214692 w 3817880"/>
                <a:gd name="connsiteY562" fmla="*/ 50688 h 420659"/>
                <a:gd name="connsiteX563" fmla="*/ 148132 w 3817880"/>
                <a:gd name="connsiteY563" fmla="*/ 50688 h 420659"/>
                <a:gd name="connsiteX564" fmla="*/ 148132 w 3817880"/>
                <a:gd name="connsiteY564" fmla="*/ 298291 h 420659"/>
                <a:gd name="connsiteX565" fmla="*/ 155054 w 3817880"/>
                <a:gd name="connsiteY565" fmla="*/ 305214 h 420659"/>
                <a:gd name="connsiteX566" fmla="*/ 184341 w 3817880"/>
                <a:gd name="connsiteY566" fmla="*/ 307343 h 420659"/>
                <a:gd name="connsiteX567" fmla="*/ 184341 w 3817880"/>
                <a:gd name="connsiteY567" fmla="*/ 325448 h 420659"/>
                <a:gd name="connsiteX568" fmla="*/ 70390 w 3817880"/>
                <a:gd name="connsiteY568" fmla="*/ 325448 h 420659"/>
                <a:gd name="connsiteX569" fmla="*/ 70390 w 3817880"/>
                <a:gd name="connsiteY569" fmla="*/ 307343 h 420659"/>
                <a:gd name="connsiteX570" fmla="*/ 99676 w 3817880"/>
                <a:gd name="connsiteY570" fmla="*/ 305214 h 420659"/>
                <a:gd name="connsiteX571" fmla="*/ 106598 w 3817880"/>
                <a:gd name="connsiteY571" fmla="*/ 298291 h 420659"/>
                <a:gd name="connsiteX572" fmla="*/ 106598 w 3817880"/>
                <a:gd name="connsiteY572" fmla="*/ 50688 h 420659"/>
                <a:gd name="connsiteX573" fmla="*/ 40039 w 3817880"/>
                <a:gd name="connsiteY573" fmla="*/ 50688 h 420659"/>
                <a:gd name="connsiteX574" fmla="*/ 33116 w 3817880"/>
                <a:gd name="connsiteY574" fmla="*/ 57610 h 420659"/>
                <a:gd name="connsiteX575" fmla="*/ 27259 w 3817880"/>
                <a:gd name="connsiteY575" fmla="*/ 98079 h 420659"/>
                <a:gd name="connsiteX576" fmla="*/ 2233 w 3817880"/>
                <a:gd name="connsiteY576" fmla="*/ 98079 h 420659"/>
                <a:gd name="connsiteX577" fmla="*/ 2233 w 3817880"/>
                <a:gd name="connsiteY577" fmla="*/ 31519 h 42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3817880" h="420659">
                  <a:moveTo>
                    <a:pt x="2873364" y="329175"/>
                  </a:moveTo>
                  <a:lnTo>
                    <a:pt x="2873364" y="302019"/>
                  </a:lnTo>
                  <a:cubicBezTo>
                    <a:pt x="2879221" y="303084"/>
                    <a:pt x="2885611" y="304149"/>
                    <a:pt x="2893598" y="304149"/>
                  </a:cubicBezTo>
                  <a:cubicBezTo>
                    <a:pt x="2903715" y="304149"/>
                    <a:pt x="2914898" y="302019"/>
                    <a:pt x="2926080" y="298291"/>
                  </a:cubicBezTo>
                  <a:cubicBezTo>
                    <a:pt x="2937262" y="294031"/>
                    <a:pt x="2949509" y="287109"/>
                    <a:pt x="2962288" y="278057"/>
                  </a:cubicBezTo>
                  <a:lnTo>
                    <a:pt x="2962288" y="303084"/>
                  </a:lnTo>
                  <a:cubicBezTo>
                    <a:pt x="2950041" y="312136"/>
                    <a:pt x="2936197" y="317993"/>
                    <a:pt x="2921820" y="322253"/>
                  </a:cubicBezTo>
                  <a:cubicBezTo>
                    <a:pt x="2908508" y="326513"/>
                    <a:pt x="2893598" y="329175"/>
                    <a:pt x="2880286" y="329175"/>
                  </a:cubicBezTo>
                  <a:cubicBezTo>
                    <a:pt x="2877624" y="329175"/>
                    <a:pt x="2875494" y="329175"/>
                    <a:pt x="2873364" y="329175"/>
                  </a:cubicBezTo>
                  <a:lnTo>
                    <a:pt x="2873364" y="329175"/>
                  </a:lnTo>
                  <a:close/>
                  <a:moveTo>
                    <a:pt x="2873364" y="209367"/>
                  </a:moveTo>
                  <a:lnTo>
                    <a:pt x="2873364" y="191263"/>
                  </a:lnTo>
                  <a:lnTo>
                    <a:pt x="2922885" y="191263"/>
                  </a:lnTo>
                  <a:lnTo>
                    <a:pt x="2922885" y="184341"/>
                  </a:lnTo>
                  <a:cubicBezTo>
                    <a:pt x="2922885" y="166236"/>
                    <a:pt x="2919690" y="152924"/>
                    <a:pt x="2911703" y="143872"/>
                  </a:cubicBezTo>
                  <a:cubicBezTo>
                    <a:pt x="2903715" y="133755"/>
                    <a:pt x="2892533" y="128963"/>
                    <a:pt x="2878156" y="128963"/>
                  </a:cubicBezTo>
                  <a:cubicBezTo>
                    <a:pt x="2876027" y="128963"/>
                    <a:pt x="2874962" y="128963"/>
                    <a:pt x="2873897" y="128963"/>
                  </a:cubicBezTo>
                  <a:lnTo>
                    <a:pt x="2873897" y="109794"/>
                  </a:lnTo>
                  <a:cubicBezTo>
                    <a:pt x="2877091" y="109794"/>
                    <a:pt x="2880819" y="108729"/>
                    <a:pt x="2884014" y="108729"/>
                  </a:cubicBezTo>
                  <a:cubicBezTo>
                    <a:pt x="2909040" y="108729"/>
                    <a:pt x="2927677" y="116716"/>
                    <a:pt x="2941522" y="132158"/>
                  </a:cubicBezTo>
                  <a:cubicBezTo>
                    <a:pt x="2956431" y="148132"/>
                    <a:pt x="2962821" y="169431"/>
                    <a:pt x="2962821" y="194990"/>
                  </a:cubicBezTo>
                  <a:cubicBezTo>
                    <a:pt x="2962821" y="198185"/>
                    <a:pt x="2962821" y="201912"/>
                    <a:pt x="2962821" y="202978"/>
                  </a:cubicBezTo>
                  <a:cubicBezTo>
                    <a:pt x="2962821" y="205107"/>
                    <a:pt x="2962821" y="207237"/>
                    <a:pt x="2962821" y="208835"/>
                  </a:cubicBezTo>
                  <a:lnTo>
                    <a:pt x="2873364" y="208835"/>
                  </a:lnTo>
                  <a:lnTo>
                    <a:pt x="2873364" y="209367"/>
                  </a:lnTo>
                  <a:close/>
                  <a:moveTo>
                    <a:pt x="2994770" y="325448"/>
                  </a:moveTo>
                  <a:lnTo>
                    <a:pt x="2994770" y="309473"/>
                  </a:lnTo>
                  <a:lnTo>
                    <a:pt x="3017134" y="307343"/>
                  </a:lnTo>
                  <a:lnTo>
                    <a:pt x="3025121" y="299356"/>
                  </a:lnTo>
                  <a:lnTo>
                    <a:pt x="3025121" y="141742"/>
                  </a:lnTo>
                  <a:lnTo>
                    <a:pt x="2994770" y="141742"/>
                  </a:lnTo>
                  <a:lnTo>
                    <a:pt x="2994770" y="127365"/>
                  </a:lnTo>
                  <a:lnTo>
                    <a:pt x="3045355" y="112456"/>
                  </a:lnTo>
                  <a:lnTo>
                    <a:pt x="3062395" y="112456"/>
                  </a:lnTo>
                  <a:lnTo>
                    <a:pt x="3062395" y="152924"/>
                  </a:lnTo>
                  <a:cubicBezTo>
                    <a:pt x="3069317" y="146002"/>
                    <a:pt x="3077304" y="138015"/>
                    <a:pt x="3083694" y="131625"/>
                  </a:cubicBezTo>
                  <a:cubicBezTo>
                    <a:pt x="3091681" y="124703"/>
                    <a:pt x="3100733" y="116716"/>
                    <a:pt x="3108720" y="110326"/>
                  </a:cubicBezTo>
                  <a:cubicBezTo>
                    <a:pt x="3109785" y="110326"/>
                    <a:pt x="3111915" y="110326"/>
                    <a:pt x="3112980" y="110326"/>
                  </a:cubicBezTo>
                  <a:cubicBezTo>
                    <a:pt x="3114045" y="110326"/>
                    <a:pt x="3116175" y="109261"/>
                    <a:pt x="3119902" y="109261"/>
                  </a:cubicBezTo>
                  <a:cubicBezTo>
                    <a:pt x="3124162" y="109261"/>
                    <a:pt x="3128955" y="110326"/>
                    <a:pt x="3132149" y="111391"/>
                  </a:cubicBezTo>
                  <a:cubicBezTo>
                    <a:pt x="3136409" y="112456"/>
                    <a:pt x="3141202" y="113521"/>
                    <a:pt x="3145461" y="115651"/>
                  </a:cubicBezTo>
                  <a:lnTo>
                    <a:pt x="3145461" y="152924"/>
                  </a:lnTo>
                  <a:lnTo>
                    <a:pt x="3132149" y="152924"/>
                  </a:lnTo>
                  <a:cubicBezTo>
                    <a:pt x="3128955" y="149730"/>
                    <a:pt x="3125227" y="147067"/>
                    <a:pt x="3122032" y="144937"/>
                  </a:cubicBezTo>
                  <a:cubicBezTo>
                    <a:pt x="3118837" y="143872"/>
                    <a:pt x="3114045" y="142807"/>
                    <a:pt x="3109785" y="142807"/>
                  </a:cubicBezTo>
                  <a:cubicBezTo>
                    <a:pt x="3102863" y="142807"/>
                    <a:pt x="3094876" y="144937"/>
                    <a:pt x="3087421" y="150794"/>
                  </a:cubicBezTo>
                  <a:cubicBezTo>
                    <a:pt x="3079434" y="155054"/>
                    <a:pt x="3071446" y="163042"/>
                    <a:pt x="3062395" y="174223"/>
                  </a:cubicBezTo>
                  <a:lnTo>
                    <a:pt x="3062395" y="299356"/>
                  </a:lnTo>
                  <a:lnTo>
                    <a:pt x="3069317" y="307343"/>
                  </a:lnTo>
                  <a:lnTo>
                    <a:pt x="3099668" y="309473"/>
                  </a:lnTo>
                  <a:lnTo>
                    <a:pt x="3099668" y="325448"/>
                  </a:lnTo>
                  <a:lnTo>
                    <a:pt x="2994770" y="325448"/>
                  </a:lnTo>
                  <a:lnTo>
                    <a:pt x="2994770" y="325448"/>
                  </a:lnTo>
                  <a:close/>
                  <a:moveTo>
                    <a:pt x="3299880" y="119378"/>
                  </a:moveTo>
                  <a:lnTo>
                    <a:pt x="3299880" y="168899"/>
                  </a:lnTo>
                  <a:lnTo>
                    <a:pt x="3277516" y="168899"/>
                  </a:lnTo>
                  <a:lnTo>
                    <a:pt x="3274322" y="138547"/>
                  </a:lnTo>
                  <a:cubicBezTo>
                    <a:pt x="3268464" y="135353"/>
                    <a:pt x="3263139" y="132690"/>
                    <a:pt x="3257282" y="130560"/>
                  </a:cubicBezTo>
                  <a:cubicBezTo>
                    <a:pt x="3253022" y="129495"/>
                    <a:pt x="3247165" y="128430"/>
                    <a:pt x="3241308" y="128430"/>
                  </a:cubicBezTo>
                  <a:cubicBezTo>
                    <a:pt x="3230126" y="128430"/>
                    <a:pt x="3221074" y="131625"/>
                    <a:pt x="3215216" y="137482"/>
                  </a:cubicBezTo>
                  <a:cubicBezTo>
                    <a:pt x="3208294" y="143340"/>
                    <a:pt x="3205099" y="149730"/>
                    <a:pt x="3205099" y="159847"/>
                  </a:cubicBezTo>
                  <a:cubicBezTo>
                    <a:pt x="3205099" y="168899"/>
                    <a:pt x="3207229" y="175821"/>
                    <a:pt x="3213086" y="181146"/>
                  </a:cubicBezTo>
                  <a:cubicBezTo>
                    <a:pt x="3218943" y="187003"/>
                    <a:pt x="3227463" y="192328"/>
                    <a:pt x="3242373" y="200315"/>
                  </a:cubicBezTo>
                  <a:cubicBezTo>
                    <a:pt x="3244502" y="201380"/>
                    <a:pt x="3248230" y="202445"/>
                    <a:pt x="3253555" y="204575"/>
                  </a:cubicBezTo>
                  <a:cubicBezTo>
                    <a:pt x="3269529" y="212562"/>
                    <a:pt x="3281776" y="218952"/>
                    <a:pt x="3288699" y="224809"/>
                  </a:cubicBezTo>
                  <a:cubicBezTo>
                    <a:pt x="3294556" y="229069"/>
                    <a:pt x="3298815" y="234926"/>
                    <a:pt x="3300946" y="241848"/>
                  </a:cubicBezTo>
                  <a:cubicBezTo>
                    <a:pt x="3304140" y="247706"/>
                    <a:pt x="3305205" y="255160"/>
                    <a:pt x="3305205" y="263148"/>
                  </a:cubicBezTo>
                  <a:cubicBezTo>
                    <a:pt x="3305205" y="283382"/>
                    <a:pt x="3298283" y="299356"/>
                    <a:pt x="3283906" y="311603"/>
                  </a:cubicBezTo>
                  <a:cubicBezTo>
                    <a:pt x="3269529" y="322785"/>
                    <a:pt x="3248763" y="328643"/>
                    <a:pt x="3223203" y="328643"/>
                  </a:cubicBezTo>
                  <a:cubicBezTo>
                    <a:pt x="3213086" y="328643"/>
                    <a:pt x="3202969" y="327578"/>
                    <a:pt x="3193917" y="326513"/>
                  </a:cubicBezTo>
                  <a:cubicBezTo>
                    <a:pt x="3183800" y="325448"/>
                    <a:pt x="3174748" y="323318"/>
                    <a:pt x="3166761" y="319591"/>
                  </a:cubicBezTo>
                  <a:lnTo>
                    <a:pt x="3166761" y="262083"/>
                  </a:lnTo>
                  <a:lnTo>
                    <a:pt x="3188060" y="262083"/>
                  </a:lnTo>
                  <a:lnTo>
                    <a:pt x="3192319" y="299356"/>
                  </a:lnTo>
                  <a:cubicBezTo>
                    <a:pt x="3199242" y="303616"/>
                    <a:pt x="3204566" y="306279"/>
                    <a:pt x="3211489" y="307343"/>
                  </a:cubicBezTo>
                  <a:cubicBezTo>
                    <a:pt x="3217346" y="309473"/>
                    <a:pt x="3223736" y="310538"/>
                    <a:pt x="3229593" y="310538"/>
                  </a:cubicBezTo>
                  <a:cubicBezTo>
                    <a:pt x="3241840" y="310538"/>
                    <a:pt x="3251957" y="307343"/>
                    <a:pt x="3259944" y="300421"/>
                  </a:cubicBezTo>
                  <a:cubicBezTo>
                    <a:pt x="3267932" y="293499"/>
                    <a:pt x="3271126" y="285512"/>
                    <a:pt x="3271126" y="274330"/>
                  </a:cubicBezTo>
                  <a:cubicBezTo>
                    <a:pt x="3271126" y="265278"/>
                    <a:pt x="3268997" y="258355"/>
                    <a:pt x="3263139" y="253031"/>
                  </a:cubicBezTo>
                  <a:cubicBezTo>
                    <a:pt x="3257282" y="247173"/>
                    <a:pt x="3246100" y="239719"/>
                    <a:pt x="3225866" y="230666"/>
                  </a:cubicBezTo>
                  <a:cubicBezTo>
                    <a:pt x="3204566" y="221614"/>
                    <a:pt x="3189657" y="211497"/>
                    <a:pt x="3182203" y="203510"/>
                  </a:cubicBezTo>
                  <a:cubicBezTo>
                    <a:pt x="3173150" y="194458"/>
                    <a:pt x="3169955" y="183276"/>
                    <a:pt x="3169955" y="171029"/>
                  </a:cubicBezTo>
                  <a:cubicBezTo>
                    <a:pt x="3169955" y="151859"/>
                    <a:pt x="3176878" y="135885"/>
                    <a:pt x="3190190" y="125768"/>
                  </a:cubicBezTo>
                  <a:cubicBezTo>
                    <a:pt x="3203502" y="114586"/>
                    <a:pt x="3222671" y="108729"/>
                    <a:pt x="3247698" y="108729"/>
                  </a:cubicBezTo>
                  <a:cubicBezTo>
                    <a:pt x="3257814" y="108729"/>
                    <a:pt x="3266867" y="109794"/>
                    <a:pt x="3274854" y="111923"/>
                  </a:cubicBezTo>
                  <a:cubicBezTo>
                    <a:pt x="3283906" y="114053"/>
                    <a:pt x="3291893" y="116183"/>
                    <a:pt x="3299880" y="119378"/>
                  </a:cubicBezTo>
                  <a:lnTo>
                    <a:pt x="3299880" y="119378"/>
                  </a:lnTo>
                  <a:close/>
                  <a:moveTo>
                    <a:pt x="3389870" y="112988"/>
                  </a:moveTo>
                  <a:lnTo>
                    <a:pt x="3406909" y="112988"/>
                  </a:lnTo>
                  <a:lnTo>
                    <a:pt x="3406909" y="299889"/>
                  </a:lnTo>
                  <a:lnTo>
                    <a:pt x="3413831" y="307876"/>
                  </a:lnTo>
                  <a:lnTo>
                    <a:pt x="3437261" y="310006"/>
                  </a:lnTo>
                  <a:lnTo>
                    <a:pt x="3437261" y="325980"/>
                  </a:lnTo>
                  <a:lnTo>
                    <a:pt x="3339284" y="325980"/>
                  </a:lnTo>
                  <a:lnTo>
                    <a:pt x="3339284" y="310006"/>
                  </a:lnTo>
                  <a:lnTo>
                    <a:pt x="3361648" y="307876"/>
                  </a:lnTo>
                  <a:lnTo>
                    <a:pt x="3369635" y="299889"/>
                  </a:lnTo>
                  <a:lnTo>
                    <a:pt x="3369635" y="142275"/>
                  </a:lnTo>
                  <a:lnTo>
                    <a:pt x="3339284" y="142275"/>
                  </a:lnTo>
                  <a:lnTo>
                    <a:pt x="3339284" y="127365"/>
                  </a:lnTo>
                  <a:lnTo>
                    <a:pt x="3389870" y="112988"/>
                  </a:lnTo>
                  <a:lnTo>
                    <a:pt x="3389870" y="112988"/>
                  </a:lnTo>
                  <a:close/>
                  <a:moveTo>
                    <a:pt x="3390934" y="15012"/>
                  </a:moveTo>
                  <a:cubicBezTo>
                    <a:pt x="3398922" y="15012"/>
                    <a:pt x="3404246" y="17142"/>
                    <a:pt x="3409039" y="22999"/>
                  </a:cubicBezTo>
                  <a:cubicBezTo>
                    <a:pt x="3414896" y="27259"/>
                    <a:pt x="3417026" y="33116"/>
                    <a:pt x="3417026" y="41104"/>
                  </a:cubicBezTo>
                  <a:cubicBezTo>
                    <a:pt x="3417026" y="48026"/>
                    <a:pt x="3414896" y="53351"/>
                    <a:pt x="3409039" y="58143"/>
                  </a:cubicBezTo>
                  <a:cubicBezTo>
                    <a:pt x="3404779" y="64000"/>
                    <a:pt x="3398922" y="66130"/>
                    <a:pt x="3390934" y="66130"/>
                  </a:cubicBezTo>
                  <a:cubicBezTo>
                    <a:pt x="3384013" y="66130"/>
                    <a:pt x="3378688" y="64000"/>
                    <a:pt x="3372830" y="58143"/>
                  </a:cubicBezTo>
                  <a:cubicBezTo>
                    <a:pt x="3368571" y="53883"/>
                    <a:pt x="3365908" y="48026"/>
                    <a:pt x="3365908" y="41104"/>
                  </a:cubicBezTo>
                  <a:cubicBezTo>
                    <a:pt x="3365908" y="33116"/>
                    <a:pt x="3368038" y="27792"/>
                    <a:pt x="3372830" y="22999"/>
                  </a:cubicBezTo>
                  <a:cubicBezTo>
                    <a:pt x="3378688" y="17142"/>
                    <a:pt x="3384545" y="15012"/>
                    <a:pt x="3390934" y="15012"/>
                  </a:cubicBezTo>
                  <a:lnTo>
                    <a:pt x="3390934" y="15012"/>
                  </a:lnTo>
                  <a:close/>
                  <a:moveTo>
                    <a:pt x="3484651" y="140677"/>
                  </a:moveTo>
                  <a:lnTo>
                    <a:pt x="3457494" y="140677"/>
                  </a:lnTo>
                  <a:lnTo>
                    <a:pt x="3457494" y="127365"/>
                  </a:lnTo>
                  <a:lnTo>
                    <a:pt x="3485716" y="114053"/>
                  </a:lnTo>
                  <a:lnTo>
                    <a:pt x="3504885" y="73585"/>
                  </a:lnTo>
                  <a:lnTo>
                    <a:pt x="3521924" y="73585"/>
                  </a:lnTo>
                  <a:lnTo>
                    <a:pt x="3521924" y="120975"/>
                  </a:lnTo>
                  <a:lnTo>
                    <a:pt x="3588484" y="120975"/>
                  </a:lnTo>
                  <a:lnTo>
                    <a:pt x="3588484" y="141210"/>
                  </a:lnTo>
                  <a:lnTo>
                    <a:pt x="3521924" y="141210"/>
                  </a:lnTo>
                  <a:lnTo>
                    <a:pt x="3521924" y="256225"/>
                  </a:lnTo>
                  <a:cubicBezTo>
                    <a:pt x="3521924" y="275395"/>
                    <a:pt x="3524054" y="288707"/>
                    <a:pt x="3529912" y="294564"/>
                  </a:cubicBezTo>
                  <a:cubicBezTo>
                    <a:pt x="3534172" y="301486"/>
                    <a:pt x="3544821" y="304681"/>
                    <a:pt x="3558133" y="304681"/>
                  </a:cubicBezTo>
                  <a:cubicBezTo>
                    <a:pt x="3562393" y="304681"/>
                    <a:pt x="3567185" y="304681"/>
                    <a:pt x="3573043" y="303616"/>
                  </a:cubicBezTo>
                  <a:cubicBezTo>
                    <a:pt x="3577302" y="303616"/>
                    <a:pt x="3583160" y="302551"/>
                    <a:pt x="3589017" y="301486"/>
                  </a:cubicBezTo>
                  <a:lnTo>
                    <a:pt x="3589017" y="317461"/>
                  </a:lnTo>
                  <a:cubicBezTo>
                    <a:pt x="3578900" y="320655"/>
                    <a:pt x="3568783" y="323318"/>
                    <a:pt x="3559731" y="325448"/>
                  </a:cubicBezTo>
                  <a:cubicBezTo>
                    <a:pt x="3549614" y="326513"/>
                    <a:pt x="3540561" y="327578"/>
                    <a:pt x="3531509" y="327578"/>
                  </a:cubicBezTo>
                  <a:cubicBezTo>
                    <a:pt x="3514470" y="327578"/>
                    <a:pt x="3502223" y="324383"/>
                    <a:pt x="3495300" y="317461"/>
                  </a:cubicBezTo>
                  <a:cubicBezTo>
                    <a:pt x="3488378" y="311603"/>
                    <a:pt x="3485184" y="299356"/>
                    <a:pt x="3485184" y="282317"/>
                  </a:cubicBezTo>
                  <a:lnTo>
                    <a:pt x="3485184" y="140677"/>
                  </a:lnTo>
                  <a:lnTo>
                    <a:pt x="3484651" y="140677"/>
                  </a:lnTo>
                  <a:close/>
                  <a:moveTo>
                    <a:pt x="3592744" y="114053"/>
                  </a:moveTo>
                  <a:lnTo>
                    <a:pt x="3687526" y="114053"/>
                  </a:lnTo>
                  <a:lnTo>
                    <a:pt x="3687526" y="131093"/>
                  </a:lnTo>
                  <a:lnTo>
                    <a:pt x="3665162" y="132158"/>
                  </a:lnTo>
                  <a:lnTo>
                    <a:pt x="3659304" y="140145"/>
                  </a:lnTo>
                  <a:lnTo>
                    <a:pt x="3712020" y="276460"/>
                  </a:lnTo>
                  <a:lnTo>
                    <a:pt x="3765800" y="140145"/>
                  </a:lnTo>
                  <a:lnTo>
                    <a:pt x="3762606" y="132158"/>
                  </a:lnTo>
                  <a:lnTo>
                    <a:pt x="3739176" y="131093"/>
                  </a:lnTo>
                  <a:lnTo>
                    <a:pt x="3739176" y="114053"/>
                  </a:lnTo>
                  <a:lnTo>
                    <a:pt x="3817984" y="114053"/>
                  </a:lnTo>
                  <a:lnTo>
                    <a:pt x="3817984" y="131093"/>
                  </a:lnTo>
                  <a:lnTo>
                    <a:pt x="3791892" y="134287"/>
                  </a:lnTo>
                  <a:lnTo>
                    <a:pt x="3704033" y="347279"/>
                  </a:lnTo>
                  <a:cubicBezTo>
                    <a:pt x="3692851" y="373371"/>
                    <a:pt x="3682734" y="392540"/>
                    <a:pt x="3671552" y="403722"/>
                  </a:cubicBezTo>
                  <a:cubicBezTo>
                    <a:pt x="3660369" y="414904"/>
                    <a:pt x="3648122" y="420762"/>
                    <a:pt x="3634278" y="420762"/>
                  </a:cubicBezTo>
                  <a:cubicBezTo>
                    <a:pt x="3625226" y="420762"/>
                    <a:pt x="3617238" y="418632"/>
                    <a:pt x="3611914" y="413839"/>
                  </a:cubicBezTo>
                  <a:cubicBezTo>
                    <a:pt x="3606056" y="409580"/>
                    <a:pt x="3603926" y="403722"/>
                    <a:pt x="3603926" y="396800"/>
                  </a:cubicBezTo>
                  <a:cubicBezTo>
                    <a:pt x="3603926" y="392540"/>
                    <a:pt x="3604992" y="387748"/>
                    <a:pt x="3606056" y="384553"/>
                  </a:cubicBezTo>
                  <a:cubicBezTo>
                    <a:pt x="3608186" y="380293"/>
                    <a:pt x="3611914" y="376566"/>
                    <a:pt x="3615108" y="373371"/>
                  </a:cubicBezTo>
                  <a:lnTo>
                    <a:pt x="3656642" y="389345"/>
                  </a:lnTo>
                  <a:cubicBezTo>
                    <a:pt x="3663564" y="382423"/>
                    <a:pt x="3669954" y="373371"/>
                    <a:pt x="3675811" y="362189"/>
                  </a:cubicBezTo>
                  <a:cubicBezTo>
                    <a:pt x="3681668" y="351007"/>
                    <a:pt x="3686993" y="338760"/>
                    <a:pt x="3692851" y="323850"/>
                  </a:cubicBezTo>
                  <a:lnTo>
                    <a:pt x="3618304" y="133755"/>
                  </a:lnTo>
                  <a:lnTo>
                    <a:pt x="3592212" y="131625"/>
                  </a:lnTo>
                  <a:lnTo>
                    <a:pt x="3592212" y="114053"/>
                  </a:lnTo>
                  <a:close/>
                  <a:moveTo>
                    <a:pt x="2548019" y="114053"/>
                  </a:moveTo>
                  <a:lnTo>
                    <a:pt x="2643865" y="114053"/>
                  </a:lnTo>
                  <a:lnTo>
                    <a:pt x="2643865" y="131093"/>
                  </a:lnTo>
                  <a:lnTo>
                    <a:pt x="2620436" y="132158"/>
                  </a:lnTo>
                  <a:lnTo>
                    <a:pt x="2616176" y="140145"/>
                  </a:lnTo>
                  <a:lnTo>
                    <a:pt x="2666762" y="283382"/>
                  </a:lnTo>
                  <a:lnTo>
                    <a:pt x="2723205" y="140145"/>
                  </a:lnTo>
                  <a:lnTo>
                    <a:pt x="2720010" y="132158"/>
                  </a:lnTo>
                  <a:lnTo>
                    <a:pt x="2696581" y="131093"/>
                  </a:lnTo>
                  <a:lnTo>
                    <a:pt x="2696581" y="114053"/>
                  </a:lnTo>
                  <a:lnTo>
                    <a:pt x="2773258" y="114053"/>
                  </a:lnTo>
                  <a:lnTo>
                    <a:pt x="2773258" y="131093"/>
                  </a:lnTo>
                  <a:lnTo>
                    <a:pt x="2748231" y="134287"/>
                  </a:lnTo>
                  <a:lnTo>
                    <a:pt x="2671554" y="325448"/>
                  </a:lnTo>
                  <a:lnTo>
                    <a:pt x="2646528" y="325448"/>
                  </a:lnTo>
                  <a:lnTo>
                    <a:pt x="2575708" y="132690"/>
                  </a:lnTo>
                  <a:lnTo>
                    <a:pt x="2548552" y="130560"/>
                  </a:lnTo>
                  <a:lnTo>
                    <a:pt x="2548552" y="114053"/>
                  </a:lnTo>
                  <a:lnTo>
                    <a:pt x="2548019" y="114053"/>
                  </a:lnTo>
                  <a:close/>
                  <a:moveTo>
                    <a:pt x="2873364" y="110326"/>
                  </a:moveTo>
                  <a:lnTo>
                    <a:pt x="2873364" y="129495"/>
                  </a:lnTo>
                  <a:cubicBezTo>
                    <a:pt x="2860052" y="130560"/>
                    <a:pt x="2849935" y="137482"/>
                    <a:pt x="2839818" y="147599"/>
                  </a:cubicBezTo>
                  <a:cubicBezTo>
                    <a:pt x="2829701" y="158782"/>
                    <a:pt x="2823843" y="173691"/>
                    <a:pt x="2822779" y="191263"/>
                  </a:cubicBezTo>
                  <a:lnTo>
                    <a:pt x="2873364" y="191263"/>
                  </a:lnTo>
                  <a:lnTo>
                    <a:pt x="2873364" y="209367"/>
                  </a:lnTo>
                  <a:lnTo>
                    <a:pt x="2820649" y="209367"/>
                  </a:lnTo>
                  <a:lnTo>
                    <a:pt x="2820649" y="215224"/>
                  </a:lnTo>
                  <a:cubicBezTo>
                    <a:pt x="2820649" y="242381"/>
                    <a:pt x="2827571" y="263680"/>
                    <a:pt x="2839818" y="280719"/>
                  </a:cubicBezTo>
                  <a:cubicBezTo>
                    <a:pt x="2848870" y="290837"/>
                    <a:pt x="2860052" y="298824"/>
                    <a:pt x="2873364" y="302019"/>
                  </a:cubicBezTo>
                  <a:lnTo>
                    <a:pt x="2873364" y="329175"/>
                  </a:lnTo>
                  <a:cubicBezTo>
                    <a:pt x="2847273" y="328110"/>
                    <a:pt x="2825973" y="317993"/>
                    <a:pt x="2808934" y="299889"/>
                  </a:cubicBezTo>
                  <a:cubicBezTo>
                    <a:pt x="2790830" y="279655"/>
                    <a:pt x="2781778" y="253563"/>
                    <a:pt x="2781778" y="221082"/>
                  </a:cubicBezTo>
                  <a:cubicBezTo>
                    <a:pt x="2781778" y="188600"/>
                    <a:pt x="2791895" y="162509"/>
                    <a:pt x="2809999" y="141210"/>
                  </a:cubicBezTo>
                  <a:cubicBezTo>
                    <a:pt x="2827038" y="123106"/>
                    <a:pt x="2847273" y="112988"/>
                    <a:pt x="2873364" y="110326"/>
                  </a:cubicBezTo>
                  <a:lnTo>
                    <a:pt x="2873364" y="110326"/>
                  </a:lnTo>
                  <a:close/>
                  <a:moveTo>
                    <a:pt x="1632686" y="323318"/>
                  </a:moveTo>
                  <a:lnTo>
                    <a:pt x="1632686" y="304149"/>
                  </a:lnTo>
                  <a:cubicBezTo>
                    <a:pt x="1636946" y="303084"/>
                    <a:pt x="1641738" y="302019"/>
                    <a:pt x="1647063" y="299889"/>
                  </a:cubicBezTo>
                  <a:cubicBezTo>
                    <a:pt x="1656115" y="296694"/>
                    <a:pt x="1666232" y="291902"/>
                    <a:pt x="1677414" y="285512"/>
                  </a:cubicBezTo>
                  <a:lnTo>
                    <a:pt x="1677414" y="207237"/>
                  </a:lnTo>
                  <a:cubicBezTo>
                    <a:pt x="1659310" y="213095"/>
                    <a:pt x="1644933" y="217354"/>
                    <a:pt x="1632153" y="222147"/>
                  </a:cubicBezTo>
                  <a:lnTo>
                    <a:pt x="1632153" y="204042"/>
                  </a:lnTo>
                  <a:cubicBezTo>
                    <a:pt x="1645465" y="200847"/>
                    <a:pt x="1660375" y="196055"/>
                    <a:pt x="1677414" y="192860"/>
                  </a:cubicBezTo>
                  <a:lnTo>
                    <a:pt x="1677414" y="178483"/>
                  </a:lnTo>
                  <a:cubicBezTo>
                    <a:pt x="1677414" y="160379"/>
                    <a:pt x="1674219" y="148132"/>
                    <a:pt x="1668362" y="140145"/>
                  </a:cubicBezTo>
                  <a:cubicBezTo>
                    <a:pt x="1662505" y="133223"/>
                    <a:pt x="1651323" y="130028"/>
                    <a:pt x="1636946" y="130028"/>
                  </a:cubicBezTo>
                  <a:cubicBezTo>
                    <a:pt x="1635881" y="130028"/>
                    <a:pt x="1633751" y="130028"/>
                    <a:pt x="1632686" y="130028"/>
                  </a:cubicBezTo>
                  <a:lnTo>
                    <a:pt x="1632686" y="110858"/>
                  </a:lnTo>
                  <a:cubicBezTo>
                    <a:pt x="1638543" y="110858"/>
                    <a:pt x="1642803" y="109794"/>
                    <a:pt x="1648660" y="109794"/>
                  </a:cubicBezTo>
                  <a:cubicBezTo>
                    <a:pt x="1672089" y="109794"/>
                    <a:pt x="1688064" y="115651"/>
                    <a:pt x="1699246" y="125768"/>
                  </a:cubicBezTo>
                  <a:cubicBezTo>
                    <a:pt x="1709363" y="135885"/>
                    <a:pt x="1715220" y="151859"/>
                    <a:pt x="1715220" y="174223"/>
                  </a:cubicBezTo>
                  <a:lnTo>
                    <a:pt x="1715220" y="300421"/>
                  </a:lnTo>
                  <a:lnTo>
                    <a:pt x="1722143" y="308408"/>
                  </a:lnTo>
                  <a:lnTo>
                    <a:pt x="1745572" y="310538"/>
                  </a:lnTo>
                  <a:lnTo>
                    <a:pt x="1745572" y="326513"/>
                  </a:lnTo>
                  <a:lnTo>
                    <a:pt x="1683804" y="326513"/>
                  </a:lnTo>
                  <a:lnTo>
                    <a:pt x="1677947" y="300421"/>
                  </a:lnTo>
                  <a:cubicBezTo>
                    <a:pt x="1663570" y="310538"/>
                    <a:pt x="1650790" y="317461"/>
                    <a:pt x="1638543" y="321720"/>
                  </a:cubicBezTo>
                  <a:cubicBezTo>
                    <a:pt x="1636946" y="322253"/>
                    <a:pt x="1634816" y="322253"/>
                    <a:pt x="1632686" y="323318"/>
                  </a:cubicBezTo>
                  <a:lnTo>
                    <a:pt x="1632686" y="323318"/>
                  </a:lnTo>
                  <a:close/>
                  <a:moveTo>
                    <a:pt x="2494771" y="15012"/>
                  </a:moveTo>
                  <a:cubicBezTo>
                    <a:pt x="2502758" y="15012"/>
                    <a:pt x="2508083" y="17142"/>
                    <a:pt x="2512875" y="22999"/>
                  </a:cubicBezTo>
                  <a:cubicBezTo>
                    <a:pt x="2518732" y="27259"/>
                    <a:pt x="2520862" y="33116"/>
                    <a:pt x="2520862" y="41104"/>
                  </a:cubicBezTo>
                  <a:cubicBezTo>
                    <a:pt x="2520862" y="48026"/>
                    <a:pt x="2518732" y="53351"/>
                    <a:pt x="2512875" y="58143"/>
                  </a:cubicBezTo>
                  <a:cubicBezTo>
                    <a:pt x="2508616" y="64000"/>
                    <a:pt x="2502758" y="66130"/>
                    <a:pt x="2494771" y="66130"/>
                  </a:cubicBezTo>
                  <a:cubicBezTo>
                    <a:pt x="2487849" y="66130"/>
                    <a:pt x="2482524" y="64000"/>
                    <a:pt x="2477731" y="58143"/>
                  </a:cubicBezTo>
                  <a:cubicBezTo>
                    <a:pt x="2471874" y="53883"/>
                    <a:pt x="2469744" y="48026"/>
                    <a:pt x="2469744" y="41104"/>
                  </a:cubicBezTo>
                  <a:cubicBezTo>
                    <a:pt x="2469744" y="33116"/>
                    <a:pt x="2471874" y="27792"/>
                    <a:pt x="2477731" y="22999"/>
                  </a:cubicBezTo>
                  <a:cubicBezTo>
                    <a:pt x="2482524" y="17142"/>
                    <a:pt x="2488381" y="15012"/>
                    <a:pt x="2494771" y="15012"/>
                  </a:cubicBezTo>
                  <a:lnTo>
                    <a:pt x="2494771" y="15012"/>
                  </a:lnTo>
                  <a:close/>
                  <a:moveTo>
                    <a:pt x="2493706" y="112988"/>
                  </a:moveTo>
                  <a:lnTo>
                    <a:pt x="2510745" y="112988"/>
                  </a:lnTo>
                  <a:lnTo>
                    <a:pt x="2510745" y="299889"/>
                  </a:lnTo>
                  <a:lnTo>
                    <a:pt x="2518732" y="307876"/>
                  </a:lnTo>
                  <a:lnTo>
                    <a:pt x="2542162" y="310006"/>
                  </a:lnTo>
                  <a:lnTo>
                    <a:pt x="2542162" y="325980"/>
                  </a:lnTo>
                  <a:lnTo>
                    <a:pt x="2443120" y="325980"/>
                  </a:lnTo>
                  <a:lnTo>
                    <a:pt x="2443120" y="310006"/>
                  </a:lnTo>
                  <a:lnTo>
                    <a:pt x="2466549" y="307876"/>
                  </a:lnTo>
                  <a:lnTo>
                    <a:pt x="2473472" y="299889"/>
                  </a:lnTo>
                  <a:lnTo>
                    <a:pt x="2473472" y="142275"/>
                  </a:lnTo>
                  <a:lnTo>
                    <a:pt x="2443120" y="142275"/>
                  </a:lnTo>
                  <a:lnTo>
                    <a:pt x="2443120" y="127365"/>
                  </a:lnTo>
                  <a:lnTo>
                    <a:pt x="2493706" y="112988"/>
                  </a:lnTo>
                  <a:lnTo>
                    <a:pt x="2493706" y="112988"/>
                  </a:lnTo>
                  <a:close/>
                  <a:moveTo>
                    <a:pt x="2191790" y="325448"/>
                  </a:moveTo>
                  <a:lnTo>
                    <a:pt x="2191790" y="309473"/>
                  </a:lnTo>
                  <a:lnTo>
                    <a:pt x="2215219" y="307343"/>
                  </a:lnTo>
                  <a:lnTo>
                    <a:pt x="2223206" y="299356"/>
                  </a:lnTo>
                  <a:lnTo>
                    <a:pt x="2223206" y="141742"/>
                  </a:lnTo>
                  <a:lnTo>
                    <a:pt x="2191790" y="141742"/>
                  </a:lnTo>
                  <a:lnTo>
                    <a:pt x="2191790" y="127365"/>
                  </a:lnTo>
                  <a:lnTo>
                    <a:pt x="2242376" y="112456"/>
                  </a:lnTo>
                  <a:lnTo>
                    <a:pt x="2259415" y="112456"/>
                  </a:lnTo>
                  <a:lnTo>
                    <a:pt x="2259415" y="135885"/>
                  </a:lnTo>
                  <a:cubicBezTo>
                    <a:pt x="2277519" y="125768"/>
                    <a:pt x="2290831" y="118846"/>
                    <a:pt x="2302013" y="115651"/>
                  </a:cubicBezTo>
                  <a:cubicBezTo>
                    <a:pt x="2312130" y="111391"/>
                    <a:pt x="2321183" y="108729"/>
                    <a:pt x="2330235" y="108729"/>
                  </a:cubicBezTo>
                  <a:cubicBezTo>
                    <a:pt x="2349404" y="108729"/>
                    <a:pt x="2363781" y="115651"/>
                    <a:pt x="2373898" y="126833"/>
                  </a:cubicBezTo>
                  <a:cubicBezTo>
                    <a:pt x="2384015" y="138015"/>
                    <a:pt x="2388275" y="155054"/>
                    <a:pt x="2388275" y="176354"/>
                  </a:cubicBezTo>
                  <a:lnTo>
                    <a:pt x="2388275" y="298824"/>
                  </a:lnTo>
                  <a:lnTo>
                    <a:pt x="2396262" y="306811"/>
                  </a:lnTo>
                  <a:lnTo>
                    <a:pt x="2419691" y="308941"/>
                  </a:lnTo>
                  <a:lnTo>
                    <a:pt x="2419691" y="324915"/>
                  </a:lnTo>
                  <a:lnTo>
                    <a:pt x="2323845" y="324915"/>
                  </a:lnTo>
                  <a:lnTo>
                    <a:pt x="2323845" y="308941"/>
                  </a:lnTo>
                  <a:lnTo>
                    <a:pt x="2344079" y="306811"/>
                  </a:lnTo>
                  <a:lnTo>
                    <a:pt x="2352066" y="298824"/>
                  </a:lnTo>
                  <a:lnTo>
                    <a:pt x="2352066" y="182743"/>
                  </a:lnTo>
                  <a:cubicBezTo>
                    <a:pt x="2352066" y="166769"/>
                    <a:pt x="2348872" y="155587"/>
                    <a:pt x="2341949" y="147599"/>
                  </a:cubicBezTo>
                  <a:cubicBezTo>
                    <a:pt x="2335027" y="140677"/>
                    <a:pt x="2323845" y="137482"/>
                    <a:pt x="2308403" y="137482"/>
                  </a:cubicBezTo>
                  <a:cubicBezTo>
                    <a:pt x="2300416" y="137482"/>
                    <a:pt x="2294026" y="138547"/>
                    <a:pt x="2284974" y="140677"/>
                  </a:cubicBezTo>
                  <a:cubicBezTo>
                    <a:pt x="2276987" y="143872"/>
                    <a:pt x="2267935" y="147599"/>
                    <a:pt x="2258882" y="151859"/>
                  </a:cubicBezTo>
                  <a:lnTo>
                    <a:pt x="2258882" y="298291"/>
                  </a:lnTo>
                  <a:lnTo>
                    <a:pt x="2266870" y="306279"/>
                  </a:lnTo>
                  <a:lnTo>
                    <a:pt x="2287104" y="308408"/>
                  </a:lnTo>
                  <a:lnTo>
                    <a:pt x="2287104" y="324383"/>
                  </a:lnTo>
                  <a:lnTo>
                    <a:pt x="2191790" y="324383"/>
                  </a:lnTo>
                  <a:lnTo>
                    <a:pt x="2191790" y="325448"/>
                  </a:lnTo>
                  <a:close/>
                  <a:moveTo>
                    <a:pt x="1885614" y="31519"/>
                  </a:moveTo>
                  <a:lnTo>
                    <a:pt x="1992642" y="31519"/>
                  </a:lnTo>
                  <a:lnTo>
                    <a:pt x="1992642" y="48558"/>
                  </a:lnTo>
                  <a:lnTo>
                    <a:pt x="1965486" y="50688"/>
                  </a:lnTo>
                  <a:lnTo>
                    <a:pt x="1958563" y="57610"/>
                  </a:lnTo>
                  <a:lnTo>
                    <a:pt x="1958563" y="216289"/>
                  </a:lnTo>
                  <a:cubicBezTo>
                    <a:pt x="1958563" y="246641"/>
                    <a:pt x="1964421" y="269005"/>
                    <a:pt x="1976668" y="282849"/>
                  </a:cubicBezTo>
                  <a:cubicBezTo>
                    <a:pt x="1988915" y="296161"/>
                    <a:pt x="2009149" y="303084"/>
                    <a:pt x="2036306" y="303084"/>
                  </a:cubicBezTo>
                  <a:cubicBezTo>
                    <a:pt x="2063462" y="303084"/>
                    <a:pt x="2083696" y="296161"/>
                    <a:pt x="2095944" y="282849"/>
                  </a:cubicBezTo>
                  <a:cubicBezTo>
                    <a:pt x="2108191" y="268472"/>
                    <a:pt x="2114048" y="246641"/>
                    <a:pt x="2114048" y="216289"/>
                  </a:cubicBezTo>
                  <a:lnTo>
                    <a:pt x="2114048" y="60805"/>
                  </a:lnTo>
                  <a:lnTo>
                    <a:pt x="2106061" y="52818"/>
                  </a:lnTo>
                  <a:lnTo>
                    <a:pt x="2078904" y="48558"/>
                  </a:lnTo>
                  <a:lnTo>
                    <a:pt x="2078904" y="31519"/>
                  </a:lnTo>
                  <a:lnTo>
                    <a:pt x="2172088" y="31519"/>
                  </a:lnTo>
                  <a:lnTo>
                    <a:pt x="2172088" y="48558"/>
                  </a:lnTo>
                  <a:lnTo>
                    <a:pt x="2144932" y="52818"/>
                  </a:lnTo>
                  <a:lnTo>
                    <a:pt x="2136944" y="60805"/>
                  </a:lnTo>
                  <a:lnTo>
                    <a:pt x="2136944" y="219484"/>
                  </a:lnTo>
                  <a:cubicBezTo>
                    <a:pt x="2136944" y="240783"/>
                    <a:pt x="2135880" y="256758"/>
                    <a:pt x="2132685" y="267940"/>
                  </a:cubicBezTo>
                  <a:cubicBezTo>
                    <a:pt x="2130555" y="279122"/>
                    <a:pt x="2124697" y="288174"/>
                    <a:pt x="2118308" y="297226"/>
                  </a:cubicBezTo>
                  <a:cubicBezTo>
                    <a:pt x="2109256" y="307343"/>
                    <a:pt x="2098073" y="315331"/>
                    <a:pt x="2081034" y="320655"/>
                  </a:cubicBezTo>
                  <a:cubicBezTo>
                    <a:pt x="2065059" y="327578"/>
                    <a:pt x="2047488" y="329708"/>
                    <a:pt x="2028319" y="329708"/>
                  </a:cubicBezTo>
                  <a:cubicBezTo>
                    <a:pt x="2008084" y="329708"/>
                    <a:pt x="1989980" y="327578"/>
                    <a:pt x="1974538" y="320655"/>
                  </a:cubicBezTo>
                  <a:cubicBezTo>
                    <a:pt x="1958563" y="314798"/>
                    <a:pt x="1946317" y="307343"/>
                    <a:pt x="1937264" y="297226"/>
                  </a:cubicBezTo>
                  <a:cubicBezTo>
                    <a:pt x="1930342" y="288174"/>
                    <a:pt x="1925017" y="279122"/>
                    <a:pt x="1922888" y="267940"/>
                  </a:cubicBezTo>
                  <a:cubicBezTo>
                    <a:pt x="1919693" y="256758"/>
                    <a:pt x="1918627" y="240783"/>
                    <a:pt x="1918627" y="219484"/>
                  </a:cubicBezTo>
                  <a:lnTo>
                    <a:pt x="1918627" y="57610"/>
                  </a:lnTo>
                  <a:lnTo>
                    <a:pt x="1910640" y="50688"/>
                  </a:lnTo>
                  <a:lnTo>
                    <a:pt x="1885614" y="48558"/>
                  </a:lnTo>
                  <a:lnTo>
                    <a:pt x="1885614" y="31519"/>
                  </a:lnTo>
                  <a:close/>
                  <a:moveTo>
                    <a:pt x="1632686" y="110326"/>
                  </a:moveTo>
                  <a:lnTo>
                    <a:pt x="1632686" y="129495"/>
                  </a:lnTo>
                  <a:cubicBezTo>
                    <a:pt x="1629491" y="129495"/>
                    <a:pt x="1624699" y="130560"/>
                    <a:pt x="1621504" y="130560"/>
                  </a:cubicBezTo>
                  <a:cubicBezTo>
                    <a:pt x="1615647" y="131625"/>
                    <a:pt x="1610322" y="133755"/>
                    <a:pt x="1604464" y="136418"/>
                  </a:cubicBezTo>
                  <a:lnTo>
                    <a:pt x="1604464" y="173691"/>
                  </a:lnTo>
                  <a:lnTo>
                    <a:pt x="1574113" y="173691"/>
                  </a:lnTo>
                  <a:cubicBezTo>
                    <a:pt x="1568256" y="173691"/>
                    <a:pt x="1565061" y="172626"/>
                    <a:pt x="1562931" y="170496"/>
                  </a:cubicBezTo>
                  <a:cubicBezTo>
                    <a:pt x="1560801" y="168366"/>
                    <a:pt x="1560801" y="164639"/>
                    <a:pt x="1560801" y="160379"/>
                  </a:cubicBezTo>
                  <a:cubicBezTo>
                    <a:pt x="1560801" y="145470"/>
                    <a:pt x="1568788" y="133223"/>
                    <a:pt x="1584230" y="124170"/>
                  </a:cubicBezTo>
                  <a:cubicBezTo>
                    <a:pt x="1597542" y="116183"/>
                    <a:pt x="1613517" y="111923"/>
                    <a:pt x="1632686" y="110326"/>
                  </a:cubicBezTo>
                  <a:lnTo>
                    <a:pt x="1632686" y="110326"/>
                  </a:lnTo>
                  <a:close/>
                  <a:moveTo>
                    <a:pt x="1632686" y="204042"/>
                  </a:moveTo>
                  <a:lnTo>
                    <a:pt x="1632686" y="222147"/>
                  </a:lnTo>
                  <a:cubicBezTo>
                    <a:pt x="1620439" y="226407"/>
                    <a:pt x="1611387" y="231199"/>
                    <a:pt x="1605529" y="235459"/>
                  </a:cubicBezTo>
                  <a:cubicBezTo>
                    <a:pt x="1594347" y="244511"/>
                    <a:pt x="1587425" y="254628"/>
                    <a:pt x="1587425" y="269005"/>
                  </a:cubicBezTo>
                  <a:cubicBezTo>
                    <a:pt x="1587425" y="279122"/>
                    <a:pt x="1590620" y="288174"/>
                    <a:pt x="1597542" y="295096"/>
                  </a:cubicBezTo>
                  <a:cubicBezTo>
                    <a:pt x="1603400" y="302019"/>
                    <a:pt x="1611919" y="304149"/>
                    <a:pt x="1623634" y="304149"/>
                  </a:cubicBezTo>
                  <a:cubicBezTo>
                    <a:pt x="1625764" y="304149"/>
                    <a:pt x="1629491" y="304149"/>
                    <a:pt x="1632686" y="304149"/>
                  </a:cubicBezTo>
                  <a:lnTo>
                    <a:pt x="1632686" y="323318"/>
                  </a:lnTo>
                  <a:cubicBezTo>
                    <a:pt x="1623634" y="326513"/>
                    <a:pt x="1614582" y="327578"/>
                    <a:pt x="1605529" y="327578"/>
                  </a:cubicBezTo>
                  <a:cubicBezTo>
                    <a:pt x="1588490" y="327578"/>
                    <a:pt x="1575178" y="323318"/>
                    <a:pt x="1565061" y="313201"/>
                  </a:cubicBezTo>
                  <a:cubicBezTo>
                    <a:pt x="1554944" y="303084"/>
                    <a:pt x="1549087" y="288174"/>
                    <a:pt x="1549087" y="272732"/>
                  </a:cubicBezTo>
                  <a:cubicBezTo>
                    <a:pt x="1549087" y="253563"/>
                    <a:pt x="1557074" y="239186"/>
                    <a:pt x="1572516" y="227471"/>
                  </a:cubicBezTo>
                  <a:cubicBezTo>
                    <a:pt x="1583165" y="221082"/>
                    <a:pt x="1603400" y="213095"/>
                    <a:pt x="1632686" y="204042"/>
                  </a:cubicBezTo>
                  <a:lnTo>
                    <a:pt x="1632686" y="204042"/>
                  </a:lnTo>
                  <a:close/>
                  <a:moveTo>
                    <a:pt x="913306" y="420229"/>
                  </a:moveTo>
                  <a:lnTo>
                    <a:pt x="913306" y="401060"/>
                  </a:lnTo>
                  <a:cubicBezTo>
                    <a:pt x="914371" y="401060"/>
                    <a:pt x="916501" y="401060"/>
                    <a:pt x="917565" y="401060"/>
                  </a:cubicBezTo>
                  <a:cubicBezTo>
                    <a:pt x="936735" y="401060"/>
                    <a:pt x="951112" y="396800"/>
                    <a:pt x="963891" y="387748"/>
                  </a:cubicBezTo>
                  <a:cubicBezTo>
                    <a:pt x="976138" y="378696"/>
                    <a:pt x="983061" y="367514"/>
                    <a:pt x="983061" y="354202"/>
                  </a:cubicBezTo>
                  <a:cubicBezTo>
                    <a:pt x="983061" y="345150"/>
                    <a:pt x="980931" y="337162"/>
                    <a:pt x="975073" y="332903"/>
                  </a:cubicBezTo>
                  <a:cubicBezTo>
                    <a:pt x="969216" y="328643"/>
                    <a:pt x="956969" y="323850"/>
                    <a:pt x="937800" y="320655"/>
                  </a:cubicBezTo>
                  <a:lnTo>
                    <a:pt x="912773" y="316396"/>
                  </a:lnTo>
                  <a:lnTo>
                    <a:pt x="912773" y="284979"/>
                  </a:lnTo>
                  <a:lnTo>
                    <a:pt x="940995" y="289239"/>
                  </a:lnTo>
                  <a:cubicBezTo>
                    <a:pt x="968151" y="293499"/>
                    <a:pt x="987320" y="300421"/>
                    <a:pt x="998502" y="308408"/>
                  </a:cubicBezTo>
                  <a:cubicBezTo>
                    <a:pt x="1009685" y="316396"/>
                    <a:pt x="1015542" y="328643"/>
                    <a:pt x="1015542" y="343552"/>
                  </a:cubicBezTo>
                  <a:cubicBezTo>
                    <a:pt x="1015542" y="352604"/>
                    <a:pt x="1013412" y="360591"/>
                    <a:pt x="1008620" y="369644"/>
                  </a:cubicBezTo>
                  <a:cubicBezTo>
                    <a:pt x="1002762" y="378696"/>
                    <a:pt x="997437" y="386683"/>
                    <a:pt x="988385" y="393073"/>
                  </a:cubicBezTo>
                  <a:cubicBezTo>
                    <a:pt x="977203" y="402125"/>
                    <a:pt x="963359" y="409047"/>
                    <a:pt x="948982" y="414372"/>
                  </a:cubicBezTo>
                  <a:cubicBezTo>
                    <a:pt x="937800" y="416502"/>
                    <a:pt x="925552" y="419164"/>
                    <a:pt x="913306" y="420229"/>
                  </a:cubicBezTo>
                  <a:lnTo>
                    <a:pt x="913306" y="420229"/>
                  </a:lnTo>
                  <a:close/>
                  <a:moveTo>
                    <a:pt x="913306" y="252498"/>
                  </a:moveTo>
                  <a:lnTo>
                    <a:pt x="913306" y="234394"/>
                  </a:lnTo>
                  <a:lnTo>
                    <a:pt x="913306" y="234394"/>
                  </a:lnTo>
                  <a:cubicBezTo>
                    <a:pt x="925552" y="234394"/>
                    <a:pt x="936735" y="230134"/>
                    <a:pt x="944722" y="219484"/>
                  </a:cubicBezTo>
                  <a:cubicBezTo>
                    <a:pt x="952709" y="210432"/>
                    <a:pt x="955904" y="197120"/>
                    <a:pt x="955904" y="181146"/>
                  </a:cubicBezTo>
                  <a:cubicBezTo>
                    <a:pt x="955904" y="164106"/>
                    <a:pt x="952709" y="151859"/>
                    <a:pt x="944722" y="141742"/>
                  </a:cubicBezTo>
                  <a:cubicBezTo>
                    <a:pt x="936735" y="131625"/>
                    <a:pt x="926618" y="127365"/>
                    <a:pt x="913306" y="127365"/>
                  </a:cubicBezTo>
                  <a:lnTo>
                    <a:pt x="913306" y="127365"/>
                  </a:lnTo>
                  <a:lnTo>
                    <a:pt x="913306" y="110326"/>
                  </a:lnTo>
                  <a:cubicBezTo>
                    <a:pt x="914371" y="109261"/>
                    <a:pt x="916501" y="109261"/>
                    <a:pt x="917565" y="109261"/>
                  </a:cubicBezTo>
                  <a:cubicBezTo>
                    <a:pt x="925552" y="109261"/>
                    <a:pt x="934605" y="110326"/>
                    <a:pt x="942592" y="112456"/>
                  </a:cubicBezTo>
                  <a:cubicBezTo>
                    <a:pt x="950579" y="114586"/>
                    <a:pt x="959631" y="118313"/>
                    <a:pt x="967619" y="122573"/>
                  </a:cubicBezTo>
                  <a:lnTo>
                    <a:pt x="1030451" y="122573"/>
                  </a:lnTo>
                  <a:lnTo>
                    <a:pt x="1030451" y="142807"/>
                  </a:lnTo>
                  <a:lnTo>
                    <a:pt x="981996" y="142807"/>
                  </a:lnTo>
                  <a:cubicBezTo>
                    <a:pt x="986255" y="148665"/>
                    <a:pt x="988918" y="155054"/>
                    <a:pt x="991048" y="161976"/>
                  </a:cubicBezTo>
                  <a:cubicBezTo>
                    <a:pt x="993178" y="168899"/>
                    <a:pt x="994243" y="175288"/>
                    <a:pt x="994243" y="183276"/>
                  </a:cubicBezTo>
                  <a:cubicBezTo>
                    <a:pt x="994243" y="203510"/>
                    <a:pt x="986255" y="219484"/>
                    <a:pt x="970813" y="232796"/>
                  </a:cubicBezTo>
                  <a:cubicBezTo>
                    <a:pt x="955904" y="245576"/>
                    <a:pt x="936735" y="251433"/>
                    <a:pt x="913306" y="252498"/>
                  </a:cubicBezTo>
                  <a:lnTo>
                    <a:pt x="913306" y="252498"/>
                  </a:lnTo>
                  <a:close/>
                  <a:moveTo>
                    <a:pt x="1344082" y="109261"/>
                  </a:moveTo>
                  <a:lnTo>
                    <a:pt x="1361121" y="109261"/>
                  </a:lnTo>
                  <a:lnTo>
                    <a:pt x="1361121" y="254628"/>
                  </a:lnTo>
                  <a:cubicBezTo>
                    <a:pt x="1361121" y="271667"/>
                    <a:pt x="1364316" y="282849"/>
                    <a:pt x="1371238" y="290837"/>
                  </a:cubicBezTo>
                  <a:cubicBezTo>
                    <a:pt x="1378160" y="297759"/>
                    <a:pt x="1388278" y="302019"/>
                    <a:pt x="1402655" y="302019"/>
                  </a:cubicBezTo>
                  <a:cubicBezTo>
                    <a:pt x="1410642" y="302019"/>
                    <a:pt x="1419694" y="300954"/>
                    <a:pt x="1427681" y="298824"/>
                  </a:cubicBezTo>
                  <a:cubicBezTo>
                    <a:pt x="1436733" y="296694"/>
                    <a:pt x="1444720" y="292967"/>
                    <a:pt x="1453773" y="288707"/>
                  </a:cubicBezTo>
                  <a:lnTo>
                    <a:pt x="1453773" y="140145"/>
                  </a:lnTo>
                  <a:lnTo>
                    <a:pt x="1422889" y="140145"/>
                  </a:lnTo>
                  <a:lnTo>
                    <a:pt x="1422889" y="126833"/>
                  </a:lnTo>
                  <a:lnTo>
                    <a:pt x="1473474" y="109794"/>
                  </a:lnTo>
                  <a:lnTo>
                    <a:pt x="1490514" y="109794"/>
                  </a:lnTo>
                  <a:lnTo>
                    <a:pt x="1490514" y="299889"/>
                  </a:lnTo>
                  <a:lnTo>
                    <a:pt x="1498501" y="307876"/>
                  </a:lnTo>
                  <a:lnTo>
                    <a:pt x="1518735" y="310006"/>
                  </a:lnTo>
                  <a:lnTo>
                    <a:pt x="1518735" y="325980"/>
                  </a:lnTo>
                  <a:lnTo>
                    <a:pt x="1453240" y="325980"/>
                  </a:lnTo>
                  <a:lnTo>
                    <a:pt x="1453240" y="300954"/>
                  </a:lnTo>
                  <a:cubicBezTo>
                    <a:pt x="1439928" y="311071"/>
                    <a:pt x="1427149" y="317993"/>
                    <a:pt x="1415967" y="322253"/>
                  </a:cubicBezTo>
                  <a:cubicBezTo>
                    <a:pt x="1403720" y="326513"/>
                    <a:pt x="1393602" y="329175"/>
                    <a:pt x="1382421" y="329175"/>
                  </a:cubicBezTo>
                  <a:cubicBezTo>
                    <a:pt x="1363251" y="329175"/>
                    <a:pt x="1349939" y="323318"/>
                    <a:pt x="1339822" y="312136"/>
                  </a:cubicBezTo>
                  <a:cubicBezTo>
                    <a:pt x="1329705" y="300954"/>
                    <a:pt x="1323848" y="283914"/>
                    <a:pt x="1323848" y="262615"/>
                  </a:cubicBezTo>
                  <a:lnTo>
                    <a:pt x="1323848" y="140145"/>
                  </a:lnTo>
                  <a:lnTo>
                    <a:pt x="1292431" y="140145"/>
                  </a:lnTo>
                  <a:lnTo>
                    <a:pt x="1292431" y="126833"/>
                  </a:lnTo>
                  <a:lnTo>
                    <a:pt x="1344082" y="109261"/>
                  </a:lnTo>
                  <a:lnTo>
                    <a:pt x="1344082" y="109261"/>
                  </a:lnTo>
                  <a:close/>
                  <a:moveTo>
                    <a:pt x="1096479" y="2233"/>
                  </a:moveTo>
                  <a:lnTo>
                    <a:pt x="1113518" y="2233"/>
                  </a:lnTo>
                  <a:lnTo>
                    <a:pt x="1113518" y="136418"/>
                  </a:lnTo>
                  <a:cubicBezTo>
                    <a:pt x="1130557" y="126300"/>
                    <a:pt x="1143869" y="119378"/>
                    <a:pt x="1155052" y="116183"/>
                  </a:cubicBezTo>
                  <a:cubicBezTo>
                    <a:pt x="1166233" y="111923"/>
                    <a:pt x="1175286" y="109261"/>
                    <a:pt x="1184338" y="109261"/>
                  </a:cubicBezTo>
                  <a:cubicBezTo>
                    <a:pt x="1203507" y="109261"/>
                    <a:pt x="1217884" y="116183"/>
                    <a:pt x="1228001" y="127365"/>
                  </a:cubicBezTo>
                  <a:cubicBezTo>
                    <a:pt x="1238118" y="138547"/>
                    <a:pt x="1242911" y="155587"/>
                    <a:pt x="1242911" y="176886"/>
                  </a:cubicBezTo>
                  <a:lnTo>
                    <a:pt x="1242911" y="299356"/>
                  </a:lnTo>
                  <a:lnTo>
                    <a:pt x="1250898" y="307343"/>
                  </a:lnTo>
                  <a:lnTo>
                    <a:pt x="1273262" y="309473"/>
                  </a:lnTo>
                  <a:lnTo>
                    <a:pt x="1273262" y="325448"/>
                  </a:lnTo>
                  <a:lnTo>
                    <a:pt x="1178480" y="325448"/>
                  </a:lnTo>
                  <a:lnTo>
                    <a:pt x="1178480" y="309473"/>
                  </a:lnTo>
                  <a:lnTo>
                    <a:pt x="1198715" y="307343"/>
                  </a:lnTo>
                  <a:lnTo>
                    <a:pt x="1205637" y="299356"/>
                  </a:lnTo>
                  <a:lnTo>
                    <a:pt x="1205637" y="183276"/>
                  </a:lnTo>
                  <a:cubicBezTo>
                    <a:pt x="1205637" y="167301"/>
                    <a:pt x="1202442" y="155054"/>
                    <a:pt x="1195520" y="148132"/>
                  </a:cubicBezTo>
                  <a:cubicBezTo>
                    <a:pt x="1188598" y="141210"/>
                    <a:pt x="1177416" y="138015"/>
                    <a:pt x="1161974" y="138015"/>
                  </a:cubicBezTo>
                  <a:cubicBezTo>
                    <a:pt x="1155052" y="138015"/>
                    <a:pt x="1147597" y="139080"/>
                    <a:pt x="1139610" y="141210"/>
                  </a:cubicBezTo>
                  <a:cubicBezTo>
                    <a:pt x="1131622" y="144405"/>
                    <a:pt x="1122570" y="148132"/>
                    <a:pt x="1113518" y="152392"/>
                  </a:cubicBezTo>
                  <a:lnTo>
                    <a:pt x="1113518" y="298824"/>
                  </a:lnTo>
                  <a:lnTo>
                    <a:pt x="1121505" y="306811"/>
                  </a:lnTo>
                  <a:lnTo>
                    <a:pt x="1141740" y="308941"/>
                  </a:lnTo>
                  <a:lnTo>
                    <a:pt x="1141740" y="324915"/>
                  </a:lnTo>
                  <a:lnTo>
                    <a:pt x="1045893" y="324915"/>
                  </a:lnTo>
                  <a:lnTo>
                    <a:pt x="1045893" y="308941"/>
                  </a:lnTo>
                  <a:lnTo>
                    <a:pt x="1069322" y="306811"/>
                  </a:lnTo>
                  <a:lnTo>
                    <a:pt x="1076245" y="298824"/>
                  </a:lnTo>
                  <a:lnTo>
                    <a:pt x="1076245" y="31519"/>
                  </a:lnTo>
                  <a:lnTo>
                    <a:pt x="1042698" y="31519"/>
                  </a:lnTo>
                  <a:lnTo>
                    <a:pt x="1042698" y="18207"/>
                  </a:lnTo>
                  <a:lnTo>
                    <a:pt x="1096479" y="2233"/>
                  </a:lnTo>
                  <a:close/>
                  <a:moveTo>
                    <a:pt x="913306" y="110326"/>
                  </a:moveTo>
                  <a:lnTo>
                    <a:pt x="913306" y="127365"/>
                  </a:lnTo>
                  <a:cubicBezTo>
                    <a:pt x="899994" y="127365"/>
                    <a:pt x="889877" y="131625"/>
                    <a:pt x="881889" y="141742"/>
                  </a:cubicBezTo>
                  <a:cubicBezTo>
                    <a:pt x="873902" y="150794"/>
                    <a:pt x="870707" y="164106"/>
                    <a:pt x="870707" y="181146"/>
                  </a:cubicBezTo>
                  <a:cubicBezTo>
                    <a:pt x="870707" y="197120"/>
                    <a:pt x="873902" y="210432"/>
                    <a:pt x="882954" y="219484"/>
                  </a:cubicBezTo>
                  <a:cubicBezTo>
                    <a:pt x="890941" y="229601"/>
                    <a:pt x="901059" y="234394"/>
                    <a:pt x="913306" y="234394"/>
                  </a:cubicBezTo>
                  <a:lnTo>
                    <a:pt x="913306" y="252498"/>
                  </a:lnTo>
                  <a:cubicBezTo>
                    <a:pt x="912240" y="252498"/>
                    <a:pt x="911176" y="252498"/>
                    <a:pt x="910111" y="252498"/>
                  </a:cubicBezTo>
                  <a:lnTo>
                    <a:pt x="903189" y="252498"/>
                  </a:lnTo>
                  <a:cubicBezTo>
                    <a:pt x="901059" y="255693"/>
                    <a:pt x="899994" y="258355"/>
                    <a:pt x="898929" y="261550"/>
                  </a:cubicBezTo>
                  <a:cubicBezTo>
                    <a:pt x="898929" y="264745"/>
                    <a:pt x="897864" y="268472"/>
                    <a:pt x="897864" y="271667"/>
                  </a:cubicBezTo>
                  <a:cubicBezTo>
                    <a:pt x="897864" y="272732"/>
                    <a:pt x="898929" y="274862"/>
                    <a:pt x="898929" y="278590"/>
                  </a:cubicBezTo>
                  <a:cubicBezTo>
                    <a:pt x="898929" y="280719"/>
                    <a:pt x="898929" y="281784"/>
                    <a:pt x="898929" y="281784"/>
                  </a:cubicBezTo>
                  <a:lnTo>
                    <a:pt x="913838" y="283914"/>
                  </a:lnTo>
                  <a:lnTo>
                    <a:pt x="913838" y="315331"/>
                  </a:lnTo>
                  <a:lnTo>
                    <a:pt x="896799" y="312136"/>
                  </a:lnTo>
                  <a:cubicBezTo>
                    <a:pt x="884552" y="315331"/>
                    <a:pt x="875500" y="321188"/>
                    <a:pt x="868577" y="329175"/>
                  </a:cubicBezTo>
                  <a:cubicBezTo>
                    <a:pt x="861655" y="337162"/>
                    <a:pt x="858460" y="345150"/>
                    <a:pt x="858460" y="355267"/>
                  </a:cubicBezTo>
                  <a:cubicBezTo>
                    <a:pt x="858460" y="368579"/>
                    <a:pt x="864317" y="378696"/>
                    <a:pt x="875500" y="387748"/>
                  </a:cubicBezTo>
                  <a:cubicBezTo>
                    <a:pt x="885617" y="395735"/>
                    <a:pt x="897864" y="399995"/>
                    <a:pt x="913838" y="401060"/>
                  </a:cubicBezTo>
                  <a:lnTo>
                    <a:pt x="913838" y="420229"/>
                  </a:lnTo>
                  <a:cubicBezTo>
                    <a:pt x="910643" y="420229"/>
                    <a:pt x="906916" y="420229"/>
                    <a:pt x="902656" y="420229"/>
                  </a:cubicBezTo>
                  <a:cubicBezTo>
                    <a:pt x="877629" y="420229"/>
                    <a:pt x="858993" y="415969"/>
                    <a:pt x="845148" y="405852"/>
                  </a:cubicBezTo>
                  <a:cubicBezTo>
                    <a:pt x="830771" y="395735"/>
                    <a:pt x="823849" y="382423"/>
                    <a:pt x="823849" y="364319"/>
                  </a:cubicBezTo>
                  <a:cubicBezTo>
                    <a:pt x="823849" y="351007"/>
                    <a:pt x="828109" y="338227"/>
                    <a:pt x="836096" y="329175"/>
                  </a:cubicBezTo>
                  <a:cubicBezTo>
                    <a:pt x="845148" y="319058"/>
                    <a:pt x="856330" y="312136"/>
                    <a:pt x="871240" y="310006"/>
                  </a:cubicBezTo>
                  <a:cubicBezTo>
                    <a:pt x="870175" y="306811"/>
                    <a:pt x="869110" y="303084"/>
                    <a:pt x="868045" y="299889"/>
                  </a:cubicBezTo>
                  <a:cubicBezTo>
                    <a:pt x="866980" y="296694"/>
                    <a:pt x="866980" y="292967"/>
                    <a:pt x="866980" y="289772"/>
                  </a:cubicBezTo>
                  <a:cubicBezTo>
                    <a:pt x="866980" y="285512"/>
                    <a:pt x="869110" y="278590"/>
                    <a:pt x="872837" y="271667"/>
                  </a:cubicBezTo>
                  <a:cubicBezTo>
                    <a:pt x="876032" y="264745"/>
                    <a:pt x="880824" y="257290"/>
                    <a:pt x="888812" y="249303"/>
                  </a:cubicBezTo>
                  <a:cubicBezTo>
                    <a:pt x="871772" y="245043"/>
                    <a:pt x="858460" y="237056"/>
                    <a:pt x="848343" y="225874"/>
                  </a:cubicBezTo>
                  <a:cubicBezTo>
                    <a:pt x="839291" y="213627"/>
                    <a:pt x="833966" y="199783"/>
                    <a:pt x="833966" y="183276"/>
                  </a:cubicBezTo>
                  <a:cubicBezTo>
                    <a:pt x="833966" y="161976"/>
                    <a:pt x="841953" y="143872"/>
                    <a:pt x="857395" y="130560"/>
                  </a:cubicBezTo>
                  <a:cubicBezTo>
                    <a:pt x="870175" y="117248"/>
                    <a:pt x="889344" y="110326"/>
                    <a:pt x="913306" y="110326"/>
                  </a:cubicBezTo>
                  <a:lnTo>
                    <a:pt x="913306" y="110326"/>
                  </a:lnTo>
                  <a:close/>
                  <a:moveTo>
                    <a:pt x="569856" y="325448"/>
                  </a:moveTo>
                  <a:lnTo>
                    <a:pt x="569856" y="309473"/>
                  </a:lnTo>
                  <a:lnTo>
                    <a:pt x="593285" y="307343"/>
                  </a:lnTo>
                  <a:lnTo>
                    <a:pt x="601272" y="299356"/>
                  </a:lnTo>
                  <a:lnTo>
                    <a:pt x="601272" y="141742"/>
                  </a:lnTo>
                  <a:lnTo>
                    <a:pt x="569856" y="141742"/>
                  </a:lnTo>
                  <a:lnTo>
                    <a:pt x="569856" y="127365"/>
                  </a:lnTo>
                  <a:lnTo>
                    <a:pt x="620442" y="112456"/>
                  </a:lnTo>
                  <a:lnTo>
                    <a:pt x="637481" y="112456"/>
                  </a:lnTo>
                  <a:lnTo>
                    <a:pt x="637481" y="135885"/>
                  </a:lnTo>
                  <a:cubicBezTo>
                    <a:pt x="654520" y="125768"/>
                    <a:pt x="668897" y="118846"/>
                    <a:pt x="680079" y="115651"/>
                  </a:cubicBezTo>
                  <a:cubicBezTo>
                    <a:pt x="690197" y="111391"/>
                    <a:pt x="699249" y="108729"/>
                    <a:pt x="708301" y="108729"/>
                  </a:cubicBezTo>
                  <a:cubicBezTo>
                    <a:pt x="727470" y="108729"/>
                    <a:pt x="741847" y="115651"/>
                    <a:pt x="751964" y="126833"/>
                  </a:cubicBezTo>
                  <a:cubicBezTo>
                    <a:pt x="762081" y="138015"/>
                    <a:pt x="766341" y="155054"/>
                    <a:pt x="766341" y="176354"/>
                  </a:cubicBezTo>
                  <a:lnTo>
                    <a:pt x="766341" y="298824"/>
                  </a:lnTo>
                  <a:lnTo>
                    <a:pt x="774328" y="306811"/>
                  </a:lnTo>
                  <a:lnTo>
                    <a:pt x="797757" y="308941"/>
                  </a:lnTo>
                  <a:lnTo>
                    <a:pt x="797757" y="324915"/>
                  </a:lnTo>
                  <a:lnTo>
                    <a:pt x="700846" y="324915"/>
                  </a:lnTo>
                  <a:lnTo>
                    <a:pt x="700846" y="308941"/>
                  </a:lnTo>
                  <a:lnTo>
                    <a:pt x="722145" y="306811"/>
                  </a:lnTo>
                  <a:lnTo>
                    <a:pt x="730133" y="298824"/>
                  </a:lnTo>
                  <a:lnTo>
                    <a:pt x="730133" y="182743"/>
                  </a:lnTo>
                  <a:cubicBezTo>
                    <a:pt x="730133" y="166769"/>
                    <a:pt x="726938" y="155587"/>
                    <a:pt x="720015" y="147599"/>
                  </a:cubicBezTo>
                  <a:cubicBezTo>
                    <a:pt x="713093" y="140677"/>
                    <a:pt x="701911" y="137482"/>
                    <a:pt x="684872" y="137482"/>
                  </a:cubicBezTo>
                  <a:cubicBezTo>
                    <a:pt x="677949" y="137482"/>
                    <a:pt x="671560" y="138547"/>
                    <a:pt x="662508" y="140677"/>
                  </a:cubicBezTo>
                  <a:cubicBezTo>
                    <a:pt x="654520" y="143872"/>
                    <a:pt x="645468" y="147599"/>
                    <a:pt x="636416" y="151859"/>
                  </a:cubicBezTo>
                  <a:lnTo>
                    <a:pt x="636416" y="298291"/>
                  </a:lnTo>
                  <a:lnTo>
                    <a:pt x="644403" y="306279"/>
                  </a:lnTo>
                  <a:lnTo>
                    <a:pt x="664637" y="308408"/>
                  </a:lnTo>
                  <a:lnTo>
                    <a:pt x="664637" y="324383"/>
                  </a:lnTo>
                  <a:lnTo>
                    <a:pt x="569856" y="324383"/>
                  </a:lnTo>
                  <a:lnTo>
                    <a:pt x="569856" y="325448"/>
                  </a:lnTo>
                  <a:close/>
                  <a:moveTo>
                    <a:pt x="501166" y="15012"/>
                  </a:moveTo>
                  <a:cubicBezTo>
                    <a:pt x="509153" y="15012"/>
                    <a:pt x="514478" y="17142"/>
                    <a:pt x="519270" y="22999"/>
                  </a:cubicBezTo>
                  <a:cubicBezTo>
                    <a:pt x="525128" y="27259"/>
                    <a:pt x="527258" y="33116"/>
                    <a:pt x="527258" y="41104"/>
                  </a:cubicBezTo>
                  <a:cubicBezTo>
                    <a:pt x="527258" y="48026"/>
                    <a:pt x="525128" y="53351"/>
                    <a:pt x="519270" y="58143"/>
                  </a:cubicBezTo>
                  <a:cubicBezTo>
                    <a:pt x="515011" y="64000"/>
                    <a:pt x="509153" y="66130"/>
                    <a:pt x="501166" y="66130"/>
                  </a:cubicBezTo>
                  <a:cubicBezTo>
                    <a:pt x="494244" y="66130"/>
                    <a:pt x="488919" y="64000"/>
                    <a:pt x="484127" y="58143"/>
                  </a:cubicBezTo>
                  <a:cubicBezTo>
                    <a:pt x="478270" y="53883"/>
                    <a:pt x="476140" y="48026"/>
                    <a:pt x="476140" y="41104"/>
                  </a:cubicBezTo>
                  <a:cubicBezTo>
                    <a:pt x="476140" y="33116"/>
                    <a:pt x="478270" y="27792"/>
                    <a:pt x="484127" y="22999"/>
                  </a:cubicBezTo>
                  <a:cubicBezTo>
                    <a:pt x="488919" y="17142"/>
                    <a:pt x="494244" y="15012"/>
                    <a:pt x="501166" y="15012"/>
                  </a:cubicBezTo>
                  <a:lnTo>
                    <a:pt x="501166" y="15012"/>
                  </a:lnTo>
                  <a:close/>
                  <a:moveTo>
                    <a:pt x="500101" y="112988"/>
                  </a:moveTo>
                  <a:lnTo>
                    <a:pt x="517141" y="112988"/>
                  </a:lnTo>
                  <a:lnTo>
                    <a:pt x="517141" y="299889"/>
                  </a:lnTo>
                  <a:lnTo>
                    <a:pt x="525128" y="307876"/>
                  </a:lnTo>
                  <a:lnTo>
                    <a:pt x="547492" y="310006"/>
                  </a:lnTo>
                  <a:lnTo>
                    <a:pt x="547492" y="325980"/>
                  </a:lnTo>
                  <a:lnTo>
                    <a:pt x="449516" y="325980"/>
                  </a:lnTo>
                  <a:lnTo>
                    <a:pt x="449516" y="310006"/>
                  </a:lnTo>
                  <a:lnTo>
                    <a:pt x="472945" y="307876"/>
                  </a:lnTo>
                  <a:lnTo>
                    <a:pt x="479867" y="299889"/>
                  </a:lnTo>
                  <a:lnTo>
                    <a:pt x="479867" y="142275"/>
                  </a:lnTo>
                  <a:lnTo>
                    <a:pt x="449516" y="142275"/>
                  </a:lnTo>
                  <a:lnTo>
                    <a:pt x="449516" y="127365"/>
                  </a:lnTo>
                  <a:lnTo>
                    <a:pt x="500101" y="112988"/>
                  </a:lnTo>
                  <a:lnTo>
                    <a:pt x="500101" y="112988"/>
                  </a:lnTo>
                  <a:close/>
                  <a:moveTo>
                    <a:pt x="410112" y="119378"/>
                  </a:moveTo>
                  <a:lnTo>
                    <a:pt x="410112" y="168899"/>
                  </a:lnTo>
                  <a:lnTo>
                    <a:pt x="388813" y="168899"/>
                  </a:lnTo>
                  <a:lnTo>
                    <a:pt x="384553" y="138547"/>
                  </a:lnTo>
                  <a:cubicBezTo>
                    <a:pt x="378696" y="135353"/>
                    <a:pt x="373371" y="132690"/>
                    <a:pt x="368579" y="130560"/>
                  </a:cubicBezTo>
                  <a:cubicBezTo>
                    <a:pt x="362721" y="129495"/>
                    <a:pt x="357397" y="128430"/>
                    <a:pt x="352604" y="128430"/>
                  </a:cubicBezTo>
                  <a:cubicBezTo>
                    <a:pt x="340357" y="128430"/>
                    <a:pt x="332370" y="131625"/>
                    <a:pt x="325448" y="137482"/>
                  </a:cubicBezTo>
                  <a:cubicBezTo>
                    <a:pt x="318526" y="143340"/>
                    <a:pt x="315331" y="149730"/>
                    <a:pt x="315331" y="159847"/>
                  </a:cubicBezTo>
                  <a:cubicBezTo>
                    <a:pt x="315331" y="168899"/>
                    <a:pt x="318526" y="175821"/>
                    <a:pt x="323318" y="181146"/>
                  </a:cubicBezTo>
                  <a:cubicBezTo>
                    <a:pt x="329175" y="187003"/>
                    <a:pt x="337695" y="192328"/>
                    <a:pt x="352604" y="200315"/>
                  </a:cubicBezTo>
                  <a:cubicBezTo>
                    <a:pt x="354734" y="201380"/>
                    <a:pt x="358462" y="202445"/>
                    <a:pt x="363786" y="204575"/>
                  </a:cubicBezTo>
                  <a:cubicBezTo>
                    <a:pt x="379761" y="212562"/>
                    <a:pt x="392008" y="218952"/>
                    <a:pt x="399995" y="224809"/>
                  </a:cubicBezTo>
                  <a:cubicBezTo>
                    <a:pt x="404255" y="229069"/>
                    <a:pt x="409047" y="234926"/>
                    <a:pt x="412242" y="241848"/>
                  </a:cubicBezTo>
                  <a:cubicBezTo>
                    <a:pt x="414372" y="247706"/>
                    <a:pt x="415437" y="255160"/>
                    <a:pt x="415437" y="263148"/>
                  </a:cubicBezTo>
                  <a:cubicBezTo>
                    <a:pt x="415437" y="283382"/>
                    <a:pt x="408515" y="299356"/>
                    <a:pt x="394138" y="311603"/>
                  </a:cubicBezTo>
                  <a:cubicBezTo>
                    <a:pt x="379761" y="322785"/>
                    <a:pt x="358994" y="328643"/>
                    <a:pt x="334500" y="328643"/>
                  </a:cubicBezTo>
                  <a:cubicBezTo>
                    <a:pt x="323318" y="328643"/>
                    <a:pt x="313201" y="327578"/>
                    <a:pt x="304149" y="326513"/>
                  </a:cubicBezTo>
                  <a:cubicBezTo>
                    <a:pt x="294031" y="325448"/>
                    <a:pt x="284979" y="323318"/>
                    <a:pt x="276992" y="319591"/>
                  </a:cubicBezTo>
                  <a:lnTo>
                    <a:pt x="276992" y="262083"/>
                  </a:lnTo>
                  <a:lnTo>
                    <a:pt x="298291" y="262083"/>
                  </a:lnTo>
                  <a:lnTo>
                    <a:pt x="302551" y="299356"/>
                  </a:lnTo>
                  <a:cubicBezTo>
                    <a:pt x="309473" y="303616"/>
                    <a:pt x="314798" y="306279"/>
                    <a:pt x="321720" y="307343"/>
                  </a:cubicBezTo>
                  <a:cubicBezTo>
                    <a:pt x="327578" y="309473"/>
                    <a:pt x="333967" y="310538"/>
                    <a:pt x="340890" y="310538"/>
                  </a:cubicBezTo>
                  <a:cubicBezTo>
                    <a:pt x="353137" y="310538"/>
                    <a:pt x="362189" y="307343"/>
                    <a:pt x="370176" y="300421"/>
                  </a:cubicBezTo>
                  <a:cubicBezTo>
                    <a:pt x="378163" y="293499"/>
                    <a:pt x="381358" y="285512"/>
                    <a:pt x="381358" y="274330"/>
                  </a:cubicBezTo>
                  <a:cubicBezTo>
                    <a:pt x="381358" y="265278"/>
                    <a:pt x="379228" y="258355"/>
                    <a:pt x="373371" y="253031"/>
                  </a:cubicBezTo>
                  <a:cubicBezTo>
                    <a:pt x="369111" y="247173"/>
                    <a:pt x="356332" y="239719"/>
                    <a:pt x="336097" y="230666"/>
                  </a:cubicBezTo>
                  <a:cubicBezTo>
                    <a:pt x="314798" y="221614"/>
                    <a:pt x="299889" y="211497"/>
                    <a:pt x="292434" y="203510"/>
                  </a:cubicBezTo>
                  <a:cubicBezTo>
                    <a:pt x="284447" y="194458"/>
                    <a:pt x="280187" y="183276"/>
                    <a:pt x="280187" y="171029"/>
                  </a:cubicBezTo>
                  <a:cubicBezTo>
                    <a:pt x="280187" y="151859"/>
                    <a:pt x="287109" y="135885"/>
                    <a:pt x="300421" y="125768"/>
                  </a:cubicBezTo>
                  <a:cubicBezTo>
                    <a:pt x="313733" y="114586"/>
                    <a:pt x="332902" y="108729"/>
                    <a:pt x="357929" y="108729"/>
                  </a:cubicBezTo>
                  <a:cubicBezTo>
                    <a:pt x="368046" y="108729"/>
                    <a:pt x="377098" y="109794"/>
                    <a:pt x="386150" y="111923"/>
                  </a:cubicBezTo>
                  <a:cubicBezTo>
                    <a:pt x="394138" y="114053"/>
                    <a:pt x="402125" y="116183"/>
                    <a:pt x="410112" y="119378"/>
                  </a:cubicBezTo>
                  <a:lnTo>
                    <a:pt x="410112" y="119378"/>
                  </a:lnTo>
                  <a:close/>
                  <a:moveTo>
                    <a:pt x="3297" y="31519"/>
                  </a:moveTo>
                  <a:lnTo>
                    <a:pt x="250901" y="31519"/>
                  </a:lnTo>
                  <a:lnTo>
                    <a:pt x="250901" y="98079"/>
                  </a:lnTo>
                  <a:lnTo>
                    <a:pt x="227471" y="98079"/>
                  </a:lnTo>
                  <a:lnTo>
                    <a:pt x="221614" y="57610"/>
                  </a:lnTo>
                  <a:lnTo>
                    <a:pt x="214692" y="50688"/>
                  </a:lnTo>
                  <a:lnTo>
                    <a:pt x="148132" y="50688"/>
                  </a:lnTo>
                  <a:lnTo>
                    <a:pt x="148132" y="298291"/>
                  </a:lnTo>
                  <a:lnTo>
                    <a:pt x="155054" y="305214"/>
                  </a:lnTo>
                  <a:lnTo>
                    <a:pt x="184341" y="307343"/>
                  </a:lnTo>
                  <a:lnTo>
                    <a:pt x="184341" y="325448"/>
                  </a:lnTo>
                  <a:lnTo>
                    <a:pt x="70390" y="325448"/>
                  </a:lnTo>
                  <a:lnTo>
                    <a:pt x="70390" y="307343"/>
                  </a:lnTo>
                  <a:lnTo>
                    <a:pt x="99676" y="305214"/>
                  </a:lnTo>
                  <a:lnTo>
                    <a:pt x="106598" y="298291"/>
                  </a:lnTo>
                  <a:lnTo>
                    <a:pt x="106598" y="50688"/>
                  </a:lnTo>
                  <a:lnTo>
                    <a:pt x="40039" y="50688"/>
                  </a:lnTo>
                  <a:lnTo>
                    <a:pt x="33116" y="57610"/>
                  </a:lnTo>
                  <a:lnTo>
                    <a:pt x="27259" y="98079"/>
                  </a:lnTo>
                  <a:lnTo>
                    <a:pt x="2233" y="98079"/>
                  </a:lnTo>
                  <a:lnTo>
                    <a:pt x="2233" y="31519"/>
                  </a:lnTo>
                  <a:close/>
                </a:path>
              </a:pathLst>
            </a:custGeom>
            <a:solidFill>
              <a:srgbClr val="81308C"/>
            </a:solidFill>
            <a:ln w="53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微软雅黑" panose="020B0503020204020204" charset="-122"/>
                <a:cs typeface="+mn-cs"/>
              </a:endParaRPr>
            </a:p>
          </p:txBody>
        </p:sp>
        <p:pic>
          <p:nvPicPr>
            <p:cNvPr id="61" name="图片 6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85028" y="2913592"/>
              <a:ext cx="1584000" cy="1584000"/>
            </a:xfrm>
            <a:prstGeom prst="rect">
              <a:avLst/>
            </a:prstGeom>
          </p:spPr>
        </p:pic>
      </p:grpSp>
      <p:sp>
        <p:nvSpPr>
          <p:cNvPr id="3" name="文本框 2">
            <a:extLst>
              <a:ext uri="{FF2B5EF4-FFF2-40B4-BE49-F238E27FC236}">
                <a16:creationId xmlns:a16="http://schemas.microsoft.com/office/drawing/2014/main" id="{3742877D-8AD8-0D97-C8F7-49D6E181CE11}"/>
              </a:ext>
            </a:extLst>
          </p:cNvPr>
          <p:cNvSpPr txBox="1"/>
          <p:nvPr/>
        </p:nvSpPr>
        <p:spPr>
          <a:xfrm>
            <a:off x="732914" y="229219"/>
            <a:ext cx="429081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400" b="0" i="0" u="none" strike="noStrike" kern="1200" cap="none" spc="0" normalizeH="0" baseline="0" noProof="0" dirty="0">
                <a:ln>
                  <a:noFill/>
                </a:ln>
                <a:solidFill>
                  <a:prstClr val="white"/>
                </a:solidFill>
                <a:effectLst/>
                <a:uLnTx/>
                <a:uFillTx/>
                <a:latin typeface="HelveticaExt-Normal"/>
                <a:ea typeface="OPPOSans B"/>
                <a:cs typeface="+mn-cs"/>
              </a:rPr>
              <a:t>1.1</a:t>
            </a:r>
            <a:r>
              <a:rPr kumimoji="0" lang="en-US" altLang="zh-CN" sz="2400" b="0" i="0" u="none" strike="noStrike" kern="1200" cap="none" spc="0" normalizeH="0" noProof="0" dirty="0">
                <a:ln>
                  <a:noFill/>
                </a:ln>
                <a:solidFill>
                  <a:prstClr val="white"/>
                </a:solidFill>
                <a:effectLst/>
                <a:uLnTx/>
                <a:uFillTx/>
                <a:latin typeface="HelveticaExt-Normal"/>
                <a:ea typeface="OPPOSans B"/>
                <a:cs typeface="+mn-cs"/>
              </a:rPr>
              <a:t> </a:t>
            </a:r>
            <a:r>
              <a:rPr lang="zh-CN" altLang="en-US" sz="2400" dirty="0">
                <a:solidFill>
                  <a:prstClr val="white"/>
                </a:solidFill>
                <a:latin typeface="HelveticaExt-Normal"/>
                <a:ea typeface="OPPOSans B"/>
              </a:rPr>
              <a:t>展品选题</a:t>
            </a:r>
            <a:endPar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endParaRPr>
          </a:p>
        </p:txBody>
      </p:sp>
      <p:pic>
        <p:nvPicPr>
          <p:cNvPr id="7" name="图片 6">
            <a:extLst>
              <a:ext uri="{FF2B5EF4-FFF2-40B4-BE49-F238E27FC236}">
                <a16:creationId xmlns:a16="http://schemas.microsoft.com/office/drawing/2014/main" id="{5A2170CB-A9BD-DA6C-9A14-3AD3C7C1F1C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7440" y="2789394"/>
            <a:ext cx="2790825" cy="2771775"/>
          </a:xfrm>
          <a:prstGeom prst="rect">
            <a:avLst/>
          </a:prstGeom>
          <a:effectLst>
            <a:outerShdw blurRad="50800" dist="38100" dir="2700000" algn="tl" rotWithShape="0">
              <a:prstClr val="black">
                <a:alpha val="40000"/>
              </a:prstClr>
            </a:outerShdw>
          </a:effectLst>
        </p:spPr>
      </p:pic>
      <p:sp>
        <p:nvSpPr>
          <p:cNvPr id="8" name="文本框 7">
            <a:extLst>
              <a:ext uri="{FF2B5EF4-FFF2-40B4-BE49-F238E27FC236}">
                <a16:creationId xmlns:a16="http://schemas.microsoft.com/office/drawing/2014/main" id="{ABEEEED1-6B86-E5E2-AFDF-9C69DACF6D30}"/>
              </a:ext>
            </a:extLst>
          </p:cNvPr>
          <p:cNvSpPr txBox="1"/>
          <p:nvPr/>
        </p:nvSpPr>
        <p:spPr>
          <a:xfrm>
            <a:off x="42375" y="920103"/>
            <a:ext cx="4580956" cy="1703030"/>
          </a:xfrm>
          <a:prstGeom prst="rect">
            <a:avLst/>
          </a:prstGeom>
          <a:noFill/>
        </p:spPr>
        <p:txBody>
          <a:bodyPr wrap="square">
            <a:spAutoFit/>
          </a:bodyPr>
          <a:lstStyle/>
          <a:p>
            <a:pPr indent="304800" algn="just">
              <a:lnSpc>
                <a:spcPct val="150000"/>
              </a:lnSpc>
            </a:pPr>
            <a:r>
              <a:rPr lang="zh-CN" altLang="zh-CN" sz="1800" dirty="0">
                <a:solidFill>
                  <a:schemeClr val="bg1"/>
                </a:solidFill>
                <a:effectLst/>
                <a:ea typeface="宋体" panose="02010600030101010101" pitchFamily="2" charset="-122"/>
                <a:cs typeface="Times New Roman" panose="02020603050405020304" pitchFamily="18" charset="0"/>
              </a:rPr>
              <a:t>现代航天系统中，对于通讯卫星、气象卫星等需要长期工作的卫星，</a:t>
            </a:r>
            <a:r>
              <a:rPr lang="zh-CN" altLang="zh-CN" sz="1800" b="1" dirty="0">
                <a:solidFill>
                  <a:srgbClr val="FFC000"/>
                </a:solidFill>
                <a:effectLst/>
                <a:ea typeface="宋体" panose="02010600030101010101" pitchFamily="2" charset="-122"/>
                <a:cs typeface="Times New Roman" panose="02020603050405020304" pitchFamily="18" charset="0"/>
              </a:rPr>
              <a:t>太阳能帆板供能</a:t>
            </a:r>
            <a:r>
              <a:rPr lang="zh-CN" altLang="en-US" sz="1800" dirty="0">
                <a:solidFill>
                  <a:schemeClr val="bg1"/>
                </a:solidFill>
                <a:effectLst/>
                <a:ea typeface="宋体" panose="02010600030101010101" pitchFamily="2" charset="-122"/>
                <a:cs typeface="Times New Roman" panose="02020603050405020304" pitchFamily="18" charset="0"/>
              </a:rPr>
              <a:t>极为</a:t>
            </a:r>
            <a:r>
              <a:rPr lang="zh-CN" altLang="zh-CN" sz="1800" dirty="0">
                <a:solidFill>
                  <a:schemeClr val="bg1"/>
                </a:solidFill>
                <a:effectLst/>
                <a:ea typeface="宋体" panose="02010600030101010101" pitchFamily="2" charset="-122"/>
                <a:cs typeface="Times New Roman" panose="02020603050405020304" pitchFamily="18" charset="0"/>
              </a:rPr>
              <a:t>重要</a:t>
            </a:r>
            <a:r>
              <a:rPr lang="zh-CN" altLang="en-US" sz="1800" dirty="0">
                <a:solidFill>
                  <a:schemeClr val="bg1"/>
                </a:solidFill>
                <a:effectLst/>
                <a:ea typeface="宋体" panose="02010600030101010101" pitchFamily="2" charset="-122"/>
                <a:cs typeface="Times New Roman" panose="02020603050405020304" pitchFamily="18" charset="0"/>
              </a:rPr>
              <a:t>，</a:t>
            </a:r>
            <a:r>
              <a:rPr lang="zh-CN" altLang="zh-CN" dirty="0">
                <a:solidFill>
                  <a:schemeClr val="bg1"/>
                </a:solidFill>
                <a:ea typeface="宋体" panose="02010600030101010101" pitchFamily="2" charset="-122"/>
                <a:cs typeface="Times New Roman" panose="02020603050405020304" pitchFamily="18" charset="0"/>
              </a:rPr>
              <a:t>对日定向技术</a:t>
            </a:r>
            <a:r>
              <a:rPr lang="zh-CN" altLang="en-US" dirty="0">
                <a:solidFill>
                  <a:schemeClr val="bg1"/>
                </a:solidFill>
                <a:ea typeface="宋体" panose="02010600030101010101" pitchFamily="2" charset="-122"/>
                <a:cs typeface="Times New Roman" panose="02020603050405020304" pitchFamily="18" charset="0"/>
              </a:rPr>
              <a:t>即基于此需求开发而来。</a:t>
            </a:r>
            <a:endParaRPr lang="en-US" altLang="zh-CN" dirty="0">
              <a:solidFill>
                <a:schemeClr val="bg1"/>
              </a:solidFill>
              <a:ea typeface="宋体" panose="02010600030101010101" pitchFamily="2" charset="-122"/>
              <a:cs typeface="Times New Roman" panose="02020603050405020304" pitchFamily="18" charset="0"/>
            </a:endParaRPr>
          </a:p>
        </p:txBody>
      </p:sp>
      <p:sp>
        <p:nvSpPr>
          <p:cNvPr id="14" name="文本框 13">
            <a:extLst>
              <a:ext uri="{FF2B5EF4-FFF2-40B4-BE49-F238E27FC236}">
                <a16:creationId xmlns:a16="http://schemas.microsoft.com/office/drawing/2014/main" id="{36B0439F-ADBE-F93E-498A-1D7ACF8B7D4F}"/>
              </a:ext>
            </a:extLst>
          </p:cNvPr>
          <p:cNvSpPr txBox="1"/>
          <p:nvPr/>
        </p:nvSpPr>
        <p:spPr>
          <a:xfrm>
            <a:off x="60317" y="5727431"/>
            <a:ext cx="4580956" cy="869533"/>
          </a:xfrm>
          <a:prstGeom prst="rect">
            <a:avLst/>
          </a:prstGeom>
          <a:noFill/>
        </p:spPr>
        <p:txBody>
          <a:bodyPr wrap="square">
            <a:spAutoFit/>
          </a:bodyPr>
          <a:lstStyle/>
          <a:p>
            <a:pPr indent="304800" algn="just">
              <a:lnSpc>
                <a:spcPct val="150000"/>
              </a:lnSpc>
            </a:pPr>
            <a:r>
              <a:rPr lang="zh-CN" altLang="zh-CN" dirty="0">
                <a:solidFill>
                  <a:schemeClr val="bg1"/>
                </a:solidFill>
                <a:ea typeface="宋体" panose="02010600030101010101" pitchFamily="2" charset="-122"/>
                <a:cs typeface="Times New Roman" panose="02020603050405020304" pitchFamily="18" charset="0"/>
              </a:rPr>
              <a:t>目前该技术已在我国</a:t>
            </a:r>
            <a:r>
              <a:rPr lang="zh-CN" altLang="zh-CN" dirty="0">
                <a:solidFill>
                  <a:srgbClr val="FFC000"/>
                </a:solidFill>
                <a:ea typeface="宋体" panose="02010600030101010101" pitchFamily="2" charset="-122"/>
                <a:cs typeface="Times New Roman" panose="02020603050405020304" pitchFamily="18" charset="0"/>
              </a:rPr>
              <a:t>北斗导航卫星系统</a:t>
            </a:r>
            <a:r>
              <a:rPr lang="zh-CN" altLang="zh-CN" dirty="0">
                <a:solidFill>
                  <a:schemeClr val="bg1"/>
                </a:solidFill>
                <a:ea typeface="宋体" panose="02010600030101010101" pitchFamily="2" charset="-122"/>
                <a:cs typeface="Times New Roman" panose="02020603050405020304" pitchFamily="18" charset="0"/>
              </a:rPr>
              <a:t>、</a:t>
            </a:r>
            <a:r>
              <a:rPr lang="zh-CN" altLang="zh-CN" dirty="0">
                <a:solidFill>
                  <a:srgbClr val="FFC000"/>
                </a:solidFill>
                <a:ea typeface="宋体" panose="02010600030101010101" pitchFamily="2" charset="-122"/>
                <a:cs typeface="Times New Roman" panose="02020603050405020304" pitchFamily="18" charset="0"/>
              </a:rPr>
              <a:t>实践二十号卫星</a:t>
            </a:r>
            <a:r>
              <a:rPr lang="zh-CN" altLang="zh-CN" dirty="0">
                <a:solidFill>
                  <a:schemeClr val="bg1"/>
                </a:solidFill>
                <a:ea typeface="宋体" panose="02010600030101010101" pitchFamily="2" charset="-122"/>
                <a:cs typeface="Times New Roman" panose="02020603050405020304" pitchFamily="18" charset="0"/>
              </a:rPr>
              <a:t>等人造卫星上应用。</a:t>
            </a:r>
            <a:endParaRPr lang="en-US" altLang="zh-CN" dirty="0">
              <a:solidFill>
                <a:schemeClr val="bg1"/>
              </a:solidFill>
              <a:ea typeface="宋体" panose="02010600030101010101" pitchFamily="2" charset="-122"/>
              <a:cs typeface="Times New Roman" panose="02020603050405020304" pitchFamily="18" charset="0"/>
            </a:endParaRPr>
          </a:p>
        </p:txBody>
      </p:sp>
      <p:sp>
        <p:nvSpPr>
          <p:cNvPr id="33" name="文本框 32">
            <a:extLst>
              <a:ext uri="{FF2B5EF4-FFF2-40B4-BE49-F238E27FC236}">
                <a16:creationId xmlns:a16="http://schemas.microsoft.com/office/drawing/2014/main" id="{432E02F9-E8CC-A6E8-0A04-D24838C589F9}"/>
              </a:ext>
            </a:extLst>
          </p:cNvPr>
          <p:cNvSpPr txBox="1"/>
          <p:nvPr/>
        </p:nvSpPr>
        <p:spPr>
          <a:xfrm>
            <a:off x="5050790" y="4148616"/>
            <a:ext cx="6290592" cy="1704954"/>
          </a:xfrm>
          <a:prstGeom prst="rect">
            <a:avLst/>
          </a:prstGeom>
          <a:noFill/>
        </p:spPr>
        <p:txBody>
          <a:bodyPr wrap="square">
            <a:spAutoFit/>
          </a:bodyPr>
          <a:lstStyle/>
          <a:p>
            <a:pPr marL="285750" indent="-285750">
              <a:lnSpc>
                <a:spcPct val="150000"/>
              </a:lnSpc>
              <a:buFont typeface="Arial" panose="020B0604020202020204" pitchFamily="34" charset="0"/>
              <a:buChar char="•"/>
              <a:defRPr/>
            </a:pPr>
            <a:r>
              <a:rPr lang="zh-CN" altLang="zh-CN" dirty="0"/>
              <a:t>展示卫星对日定向技术的发展、现状及应用</a:t>
            </a:r>
            <a:endParaRPr lang="en-US" altLang="zh-CN" dirty="0"/>
          </a:p>
          <a:p>
            <a:pPr marL="285750" indent="-285750">
              <a:lnSpc>
                <a:spcPct val="150000"/>
              </a:lnSpc>
              <a:buFont typeface="Arial" panose="020B0604020202020204" pitchFamily="34" charset="0"/>
              <a:buChar char="•"/>
              <a:defRPr/>
            </a:pPr>
            <a:r>
              <a:rPr lang="zh-CN" altLang="zh-CN" dirty="0"/>
              <a:t>展示卫星对日定向技术的基本原理</a:t>
            </a:r>
            <a:endParaRPr lang="en-US" altLang="zh-CN" dirty="0"/>
          </a:p>
          <a:p>
            <a:pPr marL="285750" indent="-285750">
              <a:lnSpc>
                <a:spcPct val="150000"/>
              </a:lnSpc>
              <a:buFont typeface="Arial" panose="020B0604020202020204" pitchFamily="34" charset="0"/>
              <a:buChar char="•"/>
              <a:defRPr/>
            </a:pPr>
            <a:r>
              <a:rPr lang="zh-CN" altLang="zh-CN" dirty="0"/>
              <a:t>通过互动体验，让观众能够更好地了解该项技术，并激发对航天科学的兴趣</a:t>
            </a:r>
            <a:endParaRPr kumimoji="0" lang="zh-CN" altLang="en-US" sz="1800" b="0" i="0" u="none" strike="noStrike" kern="1200" cap="none" spc="0" normalizeH="0" baseline="0" noProof="0" dirty="0">
              <a:ln>
                <a:noFill/>
              </a:ln>
              <a:solidFill>
                <a:prstClr val="black"/>
              </a:solidFill>
              <a:effectLst/>
              <a:uLnTx/>
              <a:uFillTx/>
              <a:latin typeface="HelveticaExt-Normal"/>
              <a:ea typeface="OPPOSans M"/>
              <a:cs typeface="+mn-cs"/>
            </a:endParaRPr>
          </a:p>
        </p:txBody>
      </p:sp>
      <p:sp>
        <p:nvSpPr>
          <p:cNvPr id="34" name="文本框 33">
            <a:extLst>
              <a:ext uri="{FF2B5EF4-FFF2-40B4-BE49-F238E27FC236}">
                <a16:creationId xmlns:a16="http://schemas.microsoft.com/office/drawing/2014/main" id="{64FADFAA-F530-85AB-62F2-EE0E8519C0BB}"/>
              </a:ext>
            </a:extLst>
          </p:cNvPr>
          <p:cNvSpPr txBox="1"/>
          <p:nvPr/>
        </p:nvSpPr>
        <p:spPr>
          <a:xfrm>
            <a:off x="5037261" y="3713085"/>
            <a:ext cx="6290592" cy="369332"/>
          </a:xfrm>
          <a:prstGeom prst="rect">
            <a:avLst/>
          </a:prstGeom>
          <a:noFill/>
        </p:spPr>
        <p:txBody>
          <a:bodyPr wrap="square">
            <a:spAutoFit/>
          </a:bodyPr>
          <a:lstStyle/>
          <a:p>
            <a:pPr>
              <a:defRPr/>
            </a:pPr>
            <a:r>
              <a:rPr kumimoji="0" lang="zh-CN" altLang="en-US" sz="1800" b="0" i="0" u="none" strike="noStrike" kern="1200" cap="none" spc="0" normalizeH="0" baseline="0" noProof="0" dirty="0">
                <a:ln>
                  <a:noFill/>
                </a:ln>
                <a:solidFill>
                  <a:prstClr val="black"/>
                </a:solidFill>
                <a:effectLst/>
                <a:uLnTx/>
                <a:uFillTx/>
                <a:latin typeface="HelveticaExt-Normal"/>
                <a:ea typeface="OPPOSans M"/>
                <a:cs typeface="+mn-cs"/>
              </a:rPr>
              <a:t>展 示 目 的：</a:t>
            </a:r>
          </a:p>
        </p:txBody>
      </p:sp>
      <p:cxnSp>
        <p:nvCxnSpPr>
          <p:cNvPr id="35" name="直接连接符 34">
            <a:extLst>
              <a:ext uri="{FF2B5EF4-FFF2-40B4-BE49-F238E27FC236}">
                <a16:creationId xmlns:a16="http://schemas.microsoft.com/office/drawing/2014/main" id="{83CA650D-1A2D-3DA2-AD30-C8A08543FF83}"/>
              </a:ext>
            </a:extLst>
          </p:cNvPr>
          <p:cNvCxnSpPr/>
          <p:nvPr/>
        </p:nvCxnSpPr>
        <p:spPr>
          <a:xfrm>
            <a:off x="5050790" y="4089419"/>
            <a:ext cx="6474460"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灯片编号占位符 3">
            <a:extLst>
              <a:ext uri="{FF2B5EF4-FFF2-40B4-BE49-F238E27FC236}">
                <a16:creationId xmlns:a16="http://schemas.microsoft.com/office/drawing/2014/main" id="{0EB50711-4847-4A42-979E-CB0F2B3124B4}"/>
              </a:ext>
            </a:extLst>
          </p:cNvPr>
          <p:cNvSpPr>
            <a:spLocks noGrp="1"/>
          </p:cNvSpPr>
          <p:nvPr>
            <p:ph type="sldNum" sz="quarter" idx="12"/>
          </p:nvPr>
        </p:nvSpPr>
        <p:spPr/>
        <p:txBody>
          <a:bodyPr/>
          <a:lstStyle/>
          <a:p>
            <a:fld id="{565CE74E-AB26-4998-AD42-012C4C1AD076}" type="slidenum">
              <a:rPr lang="zh-CN" altLang="en-US" smtClean="0"/>
              <a:t>4</a:t>
            </a:fld>
            <a:endParaRPr lang="zh-CN" altLang="en-US"/>
          </a:p>
        </p:txBody>
      </p:sp>
    </p:spTree>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0-#ppt_w/2"/>
                                          </p:val>
                                        </p:tav>
                                        <p:tav tm="100000">
                                          <p:val>
                                            <p:strVal val="#ppt_x"/>
                                          </p:val>
                                        </p:tav>
                                      </p:tavLst>
                                    </p:anim>
                                    <p:anim calcmode="lin" valueType="num">
                                      <p:cBhvr additive="base">
                                        <p:cTn id="8" dur="500" fill="hold"/>
                                        <p:tgtEl>
                                          <p:spTgt spid="40"/>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1+#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500" fill="hold"/>
                                        <p:tgtEl>
                                          <p:spTgt spid="19"/>
                                        </p:tgtEl>
                                        <p:attrNameLst>
                                          <p:attrName>ppt_x</p:attrName>
                                        </p:attrNameLst>
                                      </p:cBhvr>
                                      <p:tavLst>
                                        <p:tav tm="0">
                                          <p:val>
                                            <p:strVal val="1+#ppt_w/2"/>
                                          </p:val>
                                        </p:tav>
                                        <p:tav tm="100000">
                                          <p:val>
                                            <p:strVal val="#ppt_x"/>
                                          </p:val>
                                        </p:tav>
                                      </p:tavLst>
                                    </p:anim>
                                    <p:anim calcmode="lin" valueType="num">
                                      <p:cBhvr additive="base">
                                        <p:cTn id="16" dur="500" fill="hold"/>
                                        <p:tgtEl>
                                          <p:spTgt spid="19"/>
                                        </p:tgtEl>
                                        <p:attrNameLst>
                                          <p:attrName>ppt_y</p:attrName>
                                        </p:attrNameLst>
                                      </p:cBhvr>
                                      <p:tavLst>
                                        <p:tav tm="0">
                                          <p:val>
                                            <p:strVal val="#ppt_y"/>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3"/>
                                        </p:tgtEl>
                                        <p:attrNameLst>
                                          <p:attrName>style.visibility</p:attrName>
                                        </p:attrNameLst>
                                      </p:cBhvr>
                                      <p:to>
                                        <p:strVal val="visible"/>
                                      </p:to>
                                    </p:set>
                                    <p:anim calcmode="lin" valueType="num">
                                      <p:cBhvr additive="base">
                                        <p:cTn id="19" dur="500" fill="hold"/>
                                        <p:tgtEl>
                                          <p:spTgt spid="3"/>
                                        </p:tgtEl>
                                        <p:attrNameLst>
                                          <p:attrName>ppt_x</p:attrName>
                                        </p:attrNameLst>
                                      </p:cBhvr>
                                      <p:tavLst>
                                        <p:tav tm="0">
                                          <p:val>
                                            <p:strVal val="#ppt_x"/>
                                          </p:val>
                                        </p:tav>
                                        <p:tav tm="100000">
                                          <p:val>
                                            <p:strVal val="#ppt_x"/>
                                          </p:val>
                                        </p:tav>
                                      </p:tavLst>
                                    </p:anim>
                                    <p:anim calcmode="lin" valueType="num">
                                      <p:cBhvr additive="base">
                                        <p:cTn id="20" dur="500" fill="hold"/>
                                        <p:tgtEl>
                                          <p:spTgt spid="3"/>
                                        </p:tgtEl>
                                        <p:attrNameLst>
                                          <p:attrName>ppt_y</p:attrName>
                                        </p:attrNameLst>
                                      </p:cBhvr>
                                      <p:tavLst>
                                        <p:tav tm="0">
                                          <p:val>
                                            <p:strVal val="0-#ppt_h/2"/>
                                          </p:val>
                                        </p:tav>
                                        <p:tav tm="100000">
                                          <p:val>
                                            <p:strVal val="#ppt_y"/>
                                          </p:val>
                                        </p:tav>
                                      </p:tavLst>
                                    </p:anim>
                                  </p:childTnLst>
                                </p:cTn>
                              </p:par>
                              <p:par>
                                <p:cTn id="21" presetID="2" presetClass="entr" presetSubtype="2"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anim calcmode="lin" valueType="num">
                                      <p:cBhvr additive="base">
                                        <p:cTn id="23" dur="500" fill="hold"/>
                                        <p:tgtEl>
                                          <p:spTgt spid="27"/>
                                        </p:tgtEl>
                                        <p:attrNameLst>
                                          <p:attrName>ppt_x</p:attrName>
                                        </p:attrNameLst>
                                      </p:cBhvr>
                                      <p:tavLst>
                                        <p:tav tm="0">
                                          <p:val>
                                            <p:strVal val="1+#ppt_w/2"/>
                                          </p:val>
                                        </p:tav>
                                        <p:tav tm="100000">
                                          <p:val>
                                            <p:strVal val="#ppt_x"/>
                                          </p:val>
                                        </p:tav>
                                      </p:tavLst>
                                    </p:anim>
                                    <p:anim calcmode="lin" valueType="num">
                                      <p:cBhvr additive="base">
                                        <p:cTn id="24" dur="500" fill="hold"/>
                                        <p:tgtEl>
                                          <p:spTgt spid="27"/>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anim calcmode="lin" valueType="num">
                                      <p:cBhvr additive="base">
                                        <p:cTn id="27" dur="500" fill="hold"/>
                                        <p:tgtEl>
                                          <p:spTgt spid="34"/>
                                        </p:tgtEl>
                                        <p:attrNameLst>
                                          <p:attrName>ppt_x</p:attrName>
                                        </p:attrNameLst>
                                      </p:cBhvr>
                                      <p:tavLst>
                                        <p:tav tm="0">
                                          <p:val>
                                            <p:strVal val="1+#ppt_w/2"/>
                                          </p:val>
                                        </p:tav>
                                        <p:tav tm="100000">
                                          <p:val>
                                            <p:strVal val="#ppt_x"/>
                                          </p:val>
                                        </p:tav>
                                      </p:tavLst>
                                    </p:anim>
                                    <p:anim calcmode="lin" valueType="num">
                                      <p:cBhvr additive="base">
                                        <p:cTn id="28" dur="500" fill="hold"/>
                                        <p:tgtEl>
                                          <p:spTgt spid="34"/>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35"/>
                                        </p:tgtEl>
                                        <p:attrNameLst>
                                          <p:attrName>style.visibility</p:attrName>
                                        </p:attrNameLst>
                                      </p:cBhvr>
                                      <p:to>
                                        <p:strVal val="visible"/>
                                      </p:to>
                                    </p:set>
                                    <p:anim calcmode="lin" valueType="num">
                                      <p:cBhvr additive="base">
                                        <p:cTn id="31" dur="500" fill="hold"/>
                                        <p:tgtEl>
                                          <p:spTgt spid="35"/>
                                        </p:tgtEl>
                                        <p:attrNameLst>
                                          <p:attrName>ppt_x</p:attrName>
                                        </p:attrNameLst>
                                      </p:cBhvr>
                                      <p:tavLst>
                                        <p:tav tm="0">
                                          <p:val>
                                            <p:strVal val="1+#ppt_w/2"/>
                                          </p:val>
                                        </p:tav>
                                        <p:tav tm="100000">
                                          <p:val>
                                            <p:strVal val="#ppt_x"/>
                                          </p:val>
                                        </p:tav>
                                      </p:tavLst>
                                    </p:anim>
                                    <p:anim calcmode="lin" valueType="num">
                                      <p:cBhvr additive="base">
                                        <p:cTn id="32" dur="500" fill="hold"/>
                                        <p:tgtEl>
                                          <p:spTgt spid="35"/>
                                        </p:tgtEl>
                                        <p:attrNameLst>
                                          <p:attrName>ppt_y</p:attrName>
                                        </p:attrNameLst>
                                      </p:cBhvr>
                                      <p:tavLst>
                                        <p:tav tm="0">
                                          <p:val>
                                            <p:strVal val="#ppt_y"/>
                                          </p:val>
                                        </p:tav>
                                        <p:tav tm="100000">
                                          <p:val>
                                            <p:strVal val="#ppt_y"/>
                                          </p:val>
                                        </p:tav>
                                      </p:tavLst>
                                    </p:anim>
                                  </p:childTnLst>
                                </p:cTn>
                              </p:par>
                              <p:par>
                                <p:cTn id="33" presetID="2" presetClass="entr" presetSubtype="2" fill="hold" grpId="0" nodeType="withEffect">
                                  <p:stCondLst>
                                    <p:cond delay="0"/>
                                  </p:stCondLst>
                                  <p:childTnLst>
                                    <p:set>
                                      <p:cBhvr>
                                        <p:cTn id="34" dur="1" fill="hold">
                                          <p:stCondLst>
                                            <p:cond delay="0"/>
                                          </p:stCondLst>
                                        </p:cTn>
                                        <p:tgtEl>
                                          <p:spTgt spid="33"/>
                                        </p:tgtEl>
                                        <p:attrNameLst>
                                          <p:attrName>style.visibility</p:attrName>
                                        </p:attrNameLst>
                                      </p:cBhvr>
                                      <p:to>
                                        <p:strVal val="visible"/>
                                      </p:to>
                                    </p:set>
                                    <p:anim calcmode="lin" valueType="num">
                                      <p:cBhvr additive="base">
                                        <p:cTn id="35" dur="500" fill="hold"/>
                                        <p:tgtEl>
                                          <p:spTgt spid="33"/>
                                        </p:tgtEl>
                                        <p:attrNameLst>
                                          <p:attrName>ppt_x</p:attrName>
                                        </p:attrNameLst>
                                      </p:cBhvr>
                                      <p:tavLst>
                                        <p:tav tm="0">
                                          <p:val>
                                            <p:strVal val="1+#ppt_w/2"/>
                                          </p:val>
                                        </p:tav>
                                        <p:tav tm="100000">
                                          <p:val>
                                            <p:strVal val="#ppt_x"/>
                                          </p:val>
                                        </p:tav>
                                      </p:tavLst>
                                    </p:anim>
                                    <p:anim calcmode="lin" valueType="num">
                                      <p:cBhvr additive="base">
                                        <p:cTn id="36" dur="500" fill="hold"/>
                                        <p:tgtEl>
                                          <p:spTgt spid="3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40" grpId="0" animBg="1"/>
      <p:bldP spid="11" grpId="0"/>
      <p:bldP spid="3" grpId="0"/>
      <p:bldP spid="33" grpId="0"/>
      <p:bldP spid="3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1665"/>
          </a:xfrm>
          <a:prstGeom prst="rect">
            <a:avLst/>
          </a:prstGeom>
          <a:noFill/>
        </p:spPr>
        <p:txBody>
          <a:bodyPr wrap="square">
            <a:spAutoFit/>
          </a:bodyPr>
          <a:lstStyle/>
          <a:p>
            <a:pPr lvl="0">
              <a:defRPr/>
            </a:pPr>
            <a:r>
              <a:rPr lang="en-US" altLang="zh-CN" sz="2400" dirty="0">
                <a:solidFill>
                  <a:prstClr val="white"/>
                </a:solidFill>
                <a:latin typeface="HelveticaExt-Normal"/>
                <a:ea typeface="OPPOSans B"/>
              </a:rPr>
              <a:t>1.2 </a:t>
            </a:r>
            <a:r>
              <a:rPr lang="zh-CN" altLang="en-US" sz="2400" dirty="0">
                <a:solidFill>
                  <a:prstClr val="white"/>
                </a:solidFill>
                <a:latin typeface="HelveticaExt-Normal"/>
                <a:ea typeface="OPPOSans B"/>
              </a:rPr>
              <a:t>展品调研与初步方案</a:t>
            </a: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4">
              <a:biLevel thresh="25000"/>
            </a:blip>
            <a:srcRect l="30188"/>
            <a:stretch>
              <a:fillRect/>
            </a:stretch>
          </p:blipFill>
          <p:spPr>
            <a:xfrm>
              <a:off x="10483399" y="211219"/>
              <a:ext cx="1621585" cy="701101"/>
            </a:xfrm>
            <a:prstGeom prst="rect">
              <a:avLst/>
            </a:prstGeom>
          </p:spPr>
        </p:pic>
      </p:grpSp>
      <p:sp>
        <p:nvSpPr>
          <p:cNvPr id="7" name="文本框 6">
            <a:extLst>
              <a:ext uri="{FF2B5EF4-FFF2-40B4-BE49-F238E27FC236}">
                <a16:creationId xmlns:a16="http://schemas.microsoft.com/office/drawing/2014/main" id="{3C99CF63-85EF-3BEE-E80D-8E215EE98239}"/>
              </a:ext>
            </a:extLst>
          </p:cNvPr>
          <p:cNvSpPr txBox="1"/>
          <p:nvPr/>
        </p:nvSpPr>
        <p:spPr>
          <a:xfrm>
            <a:off x="-131694" y="1063993"/>
            <a:ext cx="10724194" cy="490840"/>
          </a:xfrm>
          <a:prstGeom prst="rect">
            <a:avLst/>
          </a:prstGeom>
          <a:noFill/>
        </p:spPr>
        <p:txBody>
          <a:bodyPr wrap="square">
            <a:spAutoFit/>
          </a:bodyPr>
          <a:lstStyle/>
          <a:p>
            <a:pPr indent="304800" algn="just">
              <a:lnSpc>
                <a:spcPct val="150000"/>
              </a:lnSpc>
            </a:pPr>
            <a:r>
              <a:rPr lang="zh-CN" altLang="en-US" sz="2000" kern="100" dirty="0">
                <a:latin typeface="黑体" panose="02010609060101010101" pitchFamily="49" charset="-122"/>
                <a:ea typeface="黑体" panose="02010609060101010101" pitchFamily="49" charset="-122"/>
                <a:cs typeface="Times New Roman" panose="02020603050405020304" pitchFamily="18" charset="0"/>
              </a:rPr>
              <a:t>展品的主要难点与初步解决方案：</a:t>
            </a:r>
            <a:endParaRPr lang="zh-CN" altLang="zh-CN" sz="2000" kern="100" dirty="0">
              <a:latin typeface="黑体" panose="02010609060101010101" pitchFamily="49" charset="-122"/>
              <a:ea typeface="黑体" panose="02010609060101010101" pitchFamily="49" charset="-122"/>
              <a:cs typeface="Times New Roman" panose="02020603050405020304" pitchFamily="18" charset="0"/>
            </a:endParaRPr>
          </a:p>
        </p:txBody>
      </p:sp>
      <p:graphicFrame>
        <p:nvGraphicFramePr>
          <p:cNvPr id="2" name="表格 1">
            <a:extLst>
              <a:ext uri="{FF2B5EF4-FFF2-40B4-BE49-F238E27FC236}">
                <a16:creationId xmlns:a16="http://schemas.microsoft.com/office/drawing/2014/main" id="{24A10C4A-CA6E-5A34-8D6E-4E1CB340A779}"/>
              </a:ext>
            </a:extLst>
          </p:cNvPr>
          <p:cNvGraphicFramePr>
            <a:graphicFrameLocks noGrp="1"/>
          </p:cNvGraphicFramePr>
          <p:nvPr>
            <p:extLst>
              <p:ext uri="{D42A27DB-BD31-4B8C-83A1-F6EECF244321}">
                <p14:modId xmlns:p14="http://schemas.microsoft.com/office/powerpoint/2010/main" val="527471588"/>
              </p:ext>
            </p:extLst>
          </p:nvPr>
        </p:nvGraphicFramePr>
        <p:xfrm>
          <a:off x="1663293" y="1897796"/>
          <a:ext cx="9110890" cy="4275771"/>
        </p:xfrm>
        <a:graphic>
          <a:graphicData uri="http://schemas.openxmlformats.org/drawingml/2006/table">
            <a:tbl>
              <a:tblPr firstRow="1" bandRow="1">
                <a:tableStyleId>{5C22544A-7EE6-4342-B048-85BDC9FD1C3A}</a:tableStyleId>
              </a:tblPr>
              <a:tblGrid>
                <a:gridCol w="4555445">
                  <a:extLst>
                    <a:ext uri="{9D8B030D-6E8A-4147-A177-3AD203B41FA5}">
                      <a16:colId xmlns:a16="http://schemas.microsoft.com/office/drawing/2014/main" val="2960751985"/>
                    </a:ext>
                  </a:extLst>
                </a:gridCol>
                <a:gridCol w="4555445">
                  <a:extLst>
                    <a:ext uri="{9D8B030D-6E8A-4147-A177-3AD203B41FA5}">
                      <a16:colId xmlns:a16="http://schemas.microsoft.com/office/drawing/2014/main" val="2724842575"/>
                    </a:ext>
                  </a:extLst>
                </a:gridCol>
              </a:tblGrid>
              <a:tr h="819771">
                <a:tc>
                  <a:txBody>
                    <a:bodyPr/>
                    <a:lstStyle/>
                    <a:p>
                      <a:pPr algn="ctr"/>
                      <a:r>
                        <a:rPr lang="zh-CN" altLang="en-US" sz="2400" dirty="0">
                          <a:solidFill>
                            <a:schemeClr val="bg1"/>
                          </a:solidFill>
                        </a:rPr>
                        <a:t>主要难点</a:t>
                      </a:r>
                    </a:p>
                  </a:txBody>
                  <a:tcPr anchor="ctr"/>
                </a:tc>
                <a:tc>
                  <a:txBody>
                    <a:bodyPr/>
                    <a:lstStyle/>
                    <a:p>
                      <a:pPr algn="ctr"/>
                      <a:r>
                        <a:rPr lang="zh-CN" altLang="en-US" sz="2400" dirty="0">
                          <a:solidFill>
                            <a:schemeClr val="bg1"/>
                          </a:solidFill>
                        </a:rPr>
                        <a:t>初步解决方案</a:t>
                      </a:r>
                    </a:p>
                  </a:txBody>
                  <a:tcPr anchor="ctr"/>
                </a:tc>
                <a:extLst>
                  <a:ext uri="{0D108BD9-81ED-4DB2-BD59-A6C34878D82A}">
                    <a16:rowId xmlns:a16="http://schemas.microsoft.com/office/drawing/2014/main" val="4275149588"/>
                  </a:ext>
                </a:extLst>
              </a:tr>
              <a:tr h="1152000">
                <a:tc>
                  <a:txBody>
                    <a:bodyPr/>
                    <a:lstStyle/>
                    <a:p>
                      <a:pPr marL="0" lvl="0" algn="l" defTabSz="914400" rtl="0" eaLnBrk="1" latinLnBrk="0" hangingPunct="1">
                        <a:lnSpc>
                          <a:spcPct val="150000"/>
                        </a:lnSpc>
                      </a:pPr>
                      <a:r>
                        <a:rPr lang="zh-CN" altLang="zh-CN" sz="1800" kern="1200" dirty="0">
                          <a:solidFill>
                            <a:schemeClr val="accent2">
                              <a:lumMod val="75000"/>
                            </a:schemeClr>
                          </a:solidFill>
                          <a:effectLst/>
                          <a:latin typeface="+mn-lt"/>
                          <a:ea typeface="+mn-ea"/>
                          <a:cs typeface="+mn-cs"/>
                        </a:rPr>
                        <a:t>运动机构</a:t>
                      </a:r>
                      <a:r>
                        <a:rPr lang="zh-CN" altLang="zh-CN" sz="1800" kern="1200" dirty="0">
                          <a:solidFill>
                            <a:schemeClr val="dk1"/>
                          </a:solidFill>
                          <a:effectLst/>
                          <a:latin typeface="+mn-lt"/>
                          <a:ea typeface="+mn-ea"/>
                          <a:cs typeface="+mn-cs"/>
                        </a:rPr>
                        <a:t>：需要能够模仿人造卫星的绕地公转运动以及自身太阳能帆板的旋转调姿运动</a:t>
                      </a:r>
                    </a:p>
                  </a:txBody>
                  <a:tcPr anchor="ctr"/>
                </a:tc>
                <a:tc>
                  <a:txBody>
                    <a:bodyPr/>
                    <a:lstStyle/>
                    <a:p>
                      <a:pPr marL="0" lvl="0" algn="l" defTabSz="914400" rtl="0" eaLnBrk="1" latinLnBrk="0" hangingPunct="1">
                        <a:lnSpc>
                          <a:spcPct val="150000"/>
                        </a:lnSpc>
                      </a:pPr>
                      <a:r>
                        <a:rPr lang="zh-CN" altLang="zh-CN" sz="1800" kern="1200" dirty="0">
                          <a:solidFill>
                            <a:schemeClr val="dk1"/>
                          </a:solidFill>
                          <a:effectLst/>
                          <a:latin typeface="+mn-lt"/>
                          <a:ea typeface="+mn-ea"/>
                          <a:cs typeface="+mn-cs"/>
                        </a:rPr>
                        <a:t>使用</a:t>
                      </a:r>
                      <a:r>
                        <a:rPr lang="zh-CN" altLang="zh-CN" sz="1800" kern="1200" dirty="0">
                          <a:solidFill>
                            <a:srgbClr val="FF0000"/>
                          </a:solidFill>
                          <a:effectLst/>
                          <a:latin typeface="+mn-lt"/>
                          <a:ea typeface="+mn-ea"/>
                          <a:cs typeface="+mn-cs"/>
                        </a:rPr>
                        <a:t>舵机</a:t>
                      </a:r>
                      <a:r>
                        <a:rPr lang="zh-CN" altLang="en-US" sz="1800" kern="1200" dirty="0">
                          <a:solidFill>
                            <a:schemeClr val="dk1"/>
                          </a:solidFill>
                          <a:effectLst/>
                          <a:latin typeface="+mn-lt"/>
                          <a:ea typeface="+mn-ea"/>
                          <a:cs typeface="+mn-cs"/>
                        </a:rPr>
                        <a:t>、</a:t>
                      </a:r>
                      <a:r>
                        <a:rPr lang="zh-CN" altLang="zh-CN" sz="1800" kern="1200" dirty="0">
                          <a:solidFill>
                            <a:srgbClr val="FF0000"/>
                          </a:solidFill>
                          <a:effectLst/>
                          <a:latin typeface="+mn-lt"/>
                          <a:ea typeface="+mn-ea"/>
                          <a:cs typeface="+mn-cs"/>
                        </a:rPr>
                        <a:t>电机</a:t>
                      </a:r>
                      <a:r>
                        <a:rPr lang="zh-CN" altLang="zh-CN" sz="1800" kern="1200" dirty="0">
                          <a:solidFill>
                            <a:schemeClr val="dk1"/>
                          </a:solidFill>
                          <a:effectLst/>
                          <a:latin typeface="+mn-lt"/>
                          <a:ea typeface="+mn-ea"/>
                          <a:cs typeface="+mn-cs"/>
                        </a:rPr>
                        <a:t>实现展品所需要的运动机构，整体设计简单，稳定性与可维护性较高</a:t>
                      </a:r>
                      <a:endParaRPr lang="zh-CN" altLang="en-US" sz="1800" kern="1200" dirty="0">
                        <a:solidFill>
                          <a:schemeClr val="dk1"/>
                        </a:solidFill>
                        <a:effectLst/>
                        <a:latin typeface="+mn-lt"/>
                        <a:ea typeface="+mn-ea"/>
                        <a:cs typeface="+mn-cs"/>
                      </a:endParaRPr>
                    </a:p>
                  </a:txBody>
                  <a:tcPr anchor="ctr"/>
                </a:tc>
                <a:extLst>
                  <a:ext uri="{0D108BD9-81ED-4DB2-BD59-A6C34878D82A}">
                    <a16:rowId xmlns:a16="http://schemas.microsoft.com/office/drawing/2014/main" val="115690975"/>
                  </a:ext>
                </a:extLst>
              </a:tr>
              <a:tr h="1152000">
                <a:tc>
                  <a:txBody>
                    <a:bodyPr/>
                    <a:lstStyle/>
                    <a:p>
                      <a:pPr marL="0" lvl="0" algn="l" defTabSz="914400" rtl="0" eaLnBrk="1" latinLnBrk="0" hangingPunct="1">
                        <a:lnSpc>
                          <a:spcPct val="150000"/>
                        </a:lnSpc>
                      </a:pPr>
                      <a:r>
                        <a:rPr lang="zh-CN" altLang="zh-CN" sz="1800" kern="1200" dirty="0">
                          <a:solidFill>
                            <a:schemeClr val="accent2">
                              <a:lumMod val="75000"/>
                            </a:schemeClr>
                          </a:solidFill>
                          <a:effectLst/>
                          <a:latin typeface="+mn-lt"/>
                          <a:ea typeface="+mn-ea"/>
                          <a:cs typeface="+mn-cs"/>
                        </a:rPr>
                        <a:t>控制算法</a:t>
                      </a:r>
                      <a:r>
                        <a:rPr lang="zh-CN" altLang="zh-CN" sz="1800" kern="1200" dirty="0">
                          <a:solidFill>
                            <a:schemeClr val="dk1"/>
                          </a:solidFill>
                          <a:effectLst/>
                          <a:latin typeface="+mn-lt"/>
                          <a:ea typeface="+mn-ea"/>
                          <a:cs typeface="+mn-cs"/>
                        </a:rPr>
                        <a:t>：需要能够精确控制各个运动机构，以及能够根据传感器数据实时反馈。</a:t>
                      </a:r>
                    </a:p>
                  </a:txBody>
                  <a:tcPr anchor="ctr"/>
                </a:tc>
                <a:tc>
                  <a:txBody>
                    <a:bodyPr/>
                    <a:lstStyle/>
                    <a:p>
                      <a:pPr marL="0" lvl="0" algn="l" defTabSz="914400" rtl="0" eaLnBrk="1" latinLnBrk="0" hangingPunct="1">
                        <a:lnSpc>
                          <a:spcPct val="150000"/>
                        </a:lnSpc>
                      </a:pPr>
                      <a:r>
                        <a:rPr lang="zh-CN" altLang="zh-CN" sz="1800" kern="1200" dirty="0">
                          <a:solidFill>
                            <a:schemeClr val="dk1"/>
                          </a:solidFill>
                          <a:effectLst/>
                          <a:latin typeface="+mn-lt"/>
                          <a:ea typeface="+mn-ea"/>
                          <a:cs typeface="+mn-cs"/>
                        </a:rPr>
                        <a:t>使用</a:t>
                      </a:r>
                      <a:r>
                        <a:rPr lang="zh-CN" altLang="zh-CN" sz="1800" kern="1200" dirty="0">
                          <a:solidFill>
                            <a:srgbClr val="FF0000"/>
                          </a:solidFill>
                          <a:effectLst/>
                          <a:latin typeface="+mn-lt"/>
                          <a:ea typeface="+mn-ea"/>
                          <a:cs typeface="+mn-cs"/>
                        </a:rPr>
                        <a:t>单片机</a:t>
                      </a:r>
                      <a:r>
                        <a:rPr lang="zh-CN" altLang="en-US" sz="1800" kern="1200" dirty="0">
                          <a:solidFill>
                            <a:schemeClr val="dk1"/>
                          </a:solidFill>
                          <a:effectLst/>
                          <a:latin typeface="+mn-lt"/>
                          <a:ea typeface="+mn-ea"/>
                          <a:cs typeface="+mn-cs"/>
                        </a:rPr>
                        <a:t>、</a:t>
                      </a:r>
                      <a:r>
                        <a:rPr lang="zh-CN" altLang="zh-CN" sz="1800" kern="1200" dirty="0">
                          <a:solidFill>
                            <a:srgbClr val="FF0000"/>
                          </a:solidFill>
                          <a:effectLst/>
                          <a:latin typeface="+mn-lt"/>
                          <a:ea typeface="+mn-ea"/>
                          <a:cs typeface="+mn-cs"/>
                        </a:rPr>
                        <a:t>树莓派</a:t>
                      </a:r>
                      <a:r>
                        <a:rPr lang="zh-CN" altLang="zh-CN" sz="1800" kern="1200" dirty="0">
                          <a:solidFill>
                            <a:schemeClr val="dk1"/>
                          </a:solidFill>
                          <a:effectLst/>
                          <a:latin typeface="+mn-lt"/>
                          <a:ea typeface="+mn-ea"/>
                          <a:cs typeface="+mn-cs"/>
                        </a:rPr>
                        <a:t>对执行机构进行控制与解算，利用</a:t>
                      </a:r>
                      <a:r>
                        <a:rPr lang="zh-CN" altLang="zh-CN" sz="1800" kern="1200" dirty="0">
                          <a:solidFill>
                            <a:srgbClr val="FF0000"/>
                          </a:solidFill>
                          <a:effectLst/>
                          <a:latin typeface="+mn-lt"/>
                          <a:ea typeface="+mn-ea"/>
                          <a:cs typeface="+mn-cs"/>
                        </a:rPr>
                        <a:t>位置传感器</a:t>
                      </a:r>
                      <a:r>
                        <a:rPr lang="zh-CN" altLang="zh-CN" sz="1800" kern="1200" dirty="0">
                          <a:solidFill>
                            <a:schemeClr val="dk1"/>
                          </a:solidFill>
                          <a:effectLst/>
                          <a:latin typeface="+mn-lt"/>
                          <a:ea typeface="+mn-ea"/>
                          <a:cs typeface="+mn-cs"/>
                        </a:rPr>
                        <a:t>实时测量姿态数据。</a:t>
                      </a:r>
                      <a:endParaRPr lang="zh-CN" altLang="en-US" sz="1800" kern="1200" dirty="0">
                        <a:solidFill>
                          <a:schemeClr val="dk1"/>
                        </a:solidFill>
                        <a:effectLst/>
                        <a:latin typeface="+mn-lt"/>
                        <a:ea typeface="+mn-ea"/>
                        <a:cs typeface="+mn-cs"/>
                      </a:endParaRPr>
                    </a:p>
                  </a:txBody>
                  <a:tcPr anchor="ctr"/>
                </a:tc>
                <a:extLst>
                  <a:ext uri="{0D108BD9-81ED-4DB2-BD59-A6C34878D82A}">
                    <a16:rowId xmlns:a16="http://schemas.microsoft.com/office/drawing/2014/main" val="10973212"/>
                  </a:ext>
                </a:extLst>
              </a:tr>
              <a:tr h="1152000">
                <a:tc>
                  <a:txBody>
                    <a:bodyPr/>
                    <a:lstStyle/>
                    <a:p>
                      <a:pPr marL="0" lvl="0" algn="l" defTabSz="914400" rtl="0" eaLnBrk="1" latinLnBrk="0" hangingPunct="1">
                        <a:lnSpc>
                          <a:spcPct val="150000"/>
                        </a:lnSpc>
                      </a:pPr>
                      <a:r>
                        <a:rPr lang="zh-CN" altLang="zh-CN" sz="1800" kern="1200" dirty="0">
                          <a:solidFill>
                            <a:schemeClr val="accent2">
                              <a:lumMod val="75000"/>
                            </a:schemeClr>
                          </a:solidFill>
                          <a:effectLst/>
                          <a:latin typeface="+mn-lt"/>
                          <a:ea typeface="+mn-ea"/>
                          <a:cs typeface="+mn-cs"/>
                        </a:rPr>
                        <a:t>互动方式</a:t>
                      </a:r>
                      <a:r>
                        <a:rPr lang="zh-CN" altLang="zh-CN" sz="1800" kern="1200" dirty="0">
                          <a:solidFill>
                            <a:schemeClr val="dk1"/>
                          </a:solidFill>
                          <a:effectLst/>
                          <a:latin typeface="+mn-lt"/>
                          <a:ea typeface="+mn-ea"/>
                          <a:cs typeface="+mn-cs"/>
                        </a:rPr>
                        <a:t>：需要具有较好的互动操作体验，同时互动流程应较为简单易懂</a:t>
                      </a:r>
                    </a:p>
                  </a:txBody>
                  <a:tcPr anchor="ctr"/>
                </a:tc>
                <a:tc>
                  <a:txBody>
                    <a:bodyPr/>
                    <a:lstStyle/>
                    <a:p>
                      <a:pPr marL="0" lvl="0" algn="l" defTabSz="914400" rtl="0" eaLnBrk="1" latinLnBrk="0" hangingPunct="1">
                        <a:lnSpc>
                          <a:spcPct val="150000"/>
                        </a:lnSpc>
                      </a:pPr>
                      <a:r>
                        <a:rPr lang="zh-CN" altLang="zh-CN" sz="1800" kern="1200" dirty="0">
                          <a:solidFill>
                            <a:schemeClr val="dk1"/>
                          </a:solidFill>
                          <a:effectLst/>
                          <a:latin typeface="+mn-lt"/>
                          <a:ea typeface="+mn-ea"/>
                          <a:cs typeface="+mn-cs"/>
                        </a:rPr>
                        <a:t>通过</a:t>
                      </a:r>
                      <a:r>
                        <a:rPr lang="zh-CN" altLang="zh-CN" sz="1800" kern="1200" dirty="0">
                          <a:solidFill>
                            <a:srgbClr val="FF0000"/>
                          </a:solidFill>
                          <a:effectLst/>
                          <a:latin typeface="+mn-lt"/>
                          <a:ea typeface="+mn-ea"/>
                          <a:cs typeface="+mn-cs"/>
                        </a:rPr>
                        <a:t>操作杆</a:t>
                      </a:r>
                      <a:r>
                        <a:rPr lang="zh-CN" altLang="zh-CN" sz="1800" kern="1200" dirty="0">
                          <a:solidFill>
                            <a:schemeClr val="dk1"/>
                          </a:solidFill>
                          <a:effectLst/>
                          <a:latin typeface="+mn-lt"/>
                          <a:ea typeface="+mn-ea"/>
                          <a:cs typeface="+mn-cs"/>
                        </a:rPr>
                        <a:t>调整帆板角度，同时通过卫星上</a:t>
                      </a:r>
                      <a:r>
                        <a:rPr lang="en-US" altLang="zh-CN" sz="1800" kern="1200" dirty="0">
                          <a:solidFill>
                            <a:srgbClr val="FF0000"/>
                          </a:solidFill>
                          <a:effectLst/>
                          <a:latin typeface="+mn-lt"/>
                          <a:ea typeface="+mn-ea"/>
                          <a:cs typeface="+mn-cs"/>
                        </a:rPr>
                        <a:t>LED</a:t>
                      </a:r>
                      <a:r>
                        <a:rPr lang="zh-CN" altLang="zh-CN" sz="1800" kern="1200" dirty="0">
                          <a:solidFill>
                            <a:srgbClr val="FF0000"/>
                          </a:solidFill>
                          <a:effectLst/>
                          <a:latin typeface="+mn-lt"/>
                          <a:ea typeface="+mn-ea"/>
                          <a:cs typeface="+mn-cs"/>
                        </a:rPr>
                        <a:t>灯亮度</a:t>
                      </a:r>
                      <a:r>
                        <a:rPr lang="zh-CN" altLang="zh-CN" sz="1800" kern="1200" dirty="0">
                          <a:solidFill>
                            <a:schemeClr val="dk1"/>
                          </a:solidFill>
                          <a:effectLst/>
                          <a:latin typeface="+mn-lt"/>
                          <a:ea typeface="+mn-ea"/>
                          <a:cs typeface="+mn-cs"/>
                        </a:rPr>
                        <a:t>与</a:t>
                      </a:r>
                      <a:r>
                        <a:rPr lang="zh-CN" altLang="zh-CN" sz="1800" kern="1200" dirty="0">
                          <a:solidFill>
                            <a:srgbClr val="FF0000"/>
                          </a:solidFill>
                          <a:effectLst/>
                          <a:latin typeface="+mn-lt"/>
                          <a:ea typeface="+mn-ea"/>
                          <a:cs typeface="+mn-cs"/>
                        </a:rPr>
                        <a:t>采光效率指示条</a:t>
                      </a:r>
                      <a:r>
                        <a:rPr lang="zh-CN" altLang="zh-CN" sz="1800" kern="1200" dirty="0">
                          <a:solidFill>
                            <a:schemeClr val="dk1"/>
                          </a:solidFill>
                          <a:effectLst/>
                          <a:latin typeface="+mn-lt"/>
                          <a:ea typeface="+mn-ea"/>
                          <a:cs typeface="+mn-cs"/>
                        </a:rPr>
                        <a:t>实时反馈。</a:t>
                      </a:r>
                      <a:endParaRPr lang="zh-CN" altLang="en-US" sz="1800" kern="1200" dirty="0">
                        <a:solidFill>
                          <a:schemeClr val="dk1"/>
                        </a:solidFill>
                        <a:effectLst/>
                        <a:latin typeface="+mn-lt"/>
                        <a:ea typeface="+mn-ea"/>
                        <a:cs typeface="+mn-cs"/>
                      </a:endParaRPr>
                    </a:p>
                  </a:txBody>
                  <a:tcPr anchor="ctr"/>
                </a:tc>
                <a:extLst>
                  <a:ext uri="{0D108BD9-81ED-4DB2-BD59-A6C34878D82A}">
                    <a16:rowId xmlns:a16="http://schemas.microsoft.com/office/drawing/2014/main" val="3608560885"/>
                  </a:ext>
                </a:extLst>
              </a:tr>
            </a:tbl>
          </a:graphicData>
        </a:graphic>
      </p:graphicFrame>
      <p:sp>
        <p:nvSpPr>
          <p:cNvPr id="4" name="灯片编号占位符 3">
            <a:extLst>
              <a:ext uri="{FF2B5EF4-FFF2-40B4-BE49-F238E27FC236}">
                <a16:creationId xmlns:a16="http://schemas.microsoft.com/office/drawing/2014/main" id="{9130D69B-BF8D-430B-8860-F7CB6A105AE6}"/>
              </a:ext>
            </a:extLst>
          </p:cNvPr>
          <p:cNvSpPr>
            <a:spLocks noGrp="1"/>
          </p:cNvSpPr>
          <p:nvPr>
            <p:ph type="sldNum" sz="quarter" idx="12"/>
          </p:nvPr>
        </p:nvSpPr>
        <p:spPr/>
        <p:txBody>
          <a:bodyPr/>
          <a:lstStyle/>
          <a:p>
            <a:fld id="{565CE74E-AB26-4998-AD42-012C4C1AD076}" type="slidenum">
              <a:rPr lang="zh-CN" altLang="en-US" smtClean="0"/>
              <a:t>5</a:t>
            </a:fld>
            <a:endParaRPr lang="zh-CN" altLang="en-US"/>
          </a:p>
        </p:txBody>
      </p:sp>
    </p:spTree>
    <p:extLst>
      <p:ext uri="{BB962C8B-B14F-4D97-AF65-F5344CB8AC3E}">
        <p14:creationId xmlns:p14="http://schemas.microsoft.com/office/powerpoint/2010/main" val="3142191628"/>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1665"/>
          </a:xfrm>
          <a:prstGeom prst="rect">
            <a:avLst/>
          </a:prstGeom>
          <a:noFill/>
        </p:spPr>
        <p:txBody>
          <a:bodyPr wrap="square">
            <a:spAutoFit/>
          </a:bodyPr>
          <a:lstStyle/>
          <a:p>
            <a:pPr lvl="0">
              <a:defRPr/>
            </a:pPr>
            <a:r>
              <a:rPr lang="en-US" altLang="zh-CN" sz="2400" dirty="0">
                <a:solidFill>
                  <a:prstClr val="white"/>
                </a:solidFill>
                <a:latin typeface="HelveticaExt-Normal"/>
                <a:ea typeface="OPPOSans B"/>
              </a:rPr>
              <a:t>1.3 </a:t>
            </a:r>
            <a:r>
              <a:rPr lang="zh-CN" altLang="en-US" sz="2400" dirty="0">
                <a:solidFill>
                  <a:prstClr val="white"/>
                </a:solidFill>
                <a:latin typeface="HelveticaExt-Normal"/>
                <a:ea typeface="OPPOSans B"/>
              </a:rPr>
              <a:t>展示内容</a:t>
            </a: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4">
              <a:biLevel thresh="25000"/>
            </a:blip>
            <a:srcRect l="30188"/>
            <a:stretch>
              <a:fillRect/>
            </a:stretch>
          </p:blipFill>
          <p:spPr>
            <a:xfrm>
              <a:off x="10483399" y="211219"/>
              <a:ext cx="1621585" cy="701101"/>
            </a:xfrm>
            <a:prstGeom prst="rect">
              <a:avLst/>
            </a:prstGeom>
          </p:spPr>
        </p:pic>
      </p:grpSp>
      <p:pic>
        <p:nvPicPr>
          <p:cNvPr id="3" name="图片 2">
            <a:extLst>
              <a:ext uri="{FF2B5EF4-FFF2-40B4-BE49-F238E27FC236}">
                <a16:creationId xmlns:a16="http://schemas.microsoft.com/office/drawing/2014/main" id="{0DB8AEEA-9A39-711D-F15C-75A2F3B35421}"/>
              </a:ext>
            </a:extLst>
          </p:cNvPr>
          <p:cNvPicPr>
            <a:picLocks noChangeAspect="1"/>
          </p:cNvPicPr>
          <p:nvPr/>
        </p:nvPicPr>
        <p:blipFill>
          <a:blip r:embed="rId5"/>
          <a:stretch>
            <a:fillRect/>
          </a:stretch>
        </p:blipFill>
        <p:spPr>
          <a:xfrm>
            <a:off x="315603" y="1627700"/>
            <a:ext cx="5424854" cy="4094178"/>
          </a:xfrm>
          <a:prstGeom prst="rect">
            <a:avLst/>
          </a:prstGeom>
        </p:spPr>
      </p:pic>
      <p:sp>
        <p:nvSpPr>
          <p:cNvPr id="4" name="矩形 3">
            <a:extLst>
              <a:ext uri="{FF2B5EF4-FFF2-40B4-BE49-F238E27FC236}">
                <a16:creationId xmlns:a16="http://schemas.microsoft.com/office/drawing/2014/main" id="{AB6FACD5-C891-E88F-5471-D336D9673491}"/>
              </a:ext>
            </a:extLst>
          </p:cNvPr>
          <p:cNvSpPr/>
          <p:nvPr/>
        </p:nvSpPr>
        <p:spPr>
          <a:xfrm>
            <a:off x="361526" y="5917483"/>
            <a:ext cx="5333007" cy="327077"/>
          </a:xfrm>
          <a:prstGeom prst="rect">
            <a:avLst/>
          </a:prstGeom>
        </p:spPr>
        <p:txBody>
          <a:bodyPr wrap="square">
            <a:spAutoFit/>
          </a:bodyPr>
          <a:lstStyle/>
          <a:p>
            <a:pPr algn="ctr">
              <a:lnSpc>
                <a:spcPct val="120000"/>
              </a:lnSpc>
            </a:pPr>
            <a:r>
              <a:rPr lang="zh-CN" altLang="en-US" sz="1400" dirty="0">
                <a:solidFill>
                  <a:schemeClr val="tx1">
                    <a:lumMod val="50000"/>
                    <a:lumOff val="50000"/>
                  </a:schemeClr>
                </a:solidFill>
              </a:rPr>
              <a:t>主要结构：公转系统、太阳能帆板旋转系统</a:t>
            </a:r>
          </a:p>
        </p:txBody>
      </p:sp>
      <p:sp>
        <p:nvSpPr>
          <p:cNvPr id="12" name="左大括号 11">
            <a:extLst>
              <a:ext uri="{FF2B5EF4-FFF2-40B4-BE49-F238E27FC236}">
                <a16:creationId xmlns:a16="http://schemas.microsoft.com/office/drawing/2014/main" id="{B2516C5F-28BA-2172-2B5F-DB8D9F2F281F}"/>
              </a:ext>
            </a:extLst>
          </p:cNvPr>
          <p:cNvSpPr/>
          <p:nvPr/>
        </p:nvSpPr>
        <p:spPr>
          <a:xfrm>
            <a:off x="6733416" y="2296652"/>
            <a:ext cx="533910" cy="2677657"/>
          </a:xfrm>
          <a:prstGeom prst="leftBrace">
            <a:avLst/>
          </a:prstGeom>
        </p:spPr>
        <p:style>
          <a:lnRef idx="3">
            <a:schemeClr val="dk1"/>
          </a:lnRef>
          <a:fillRef idx="0">
            <a:schemeClr val="dk1"/>
          </a:fillRef>
          <a:effectRef idx="2">
            <a:schemeClr val="dk1"/>
          </a:effectRef>
          <a:fontRef idx="minor">
            <a:schemeClr val="tx1"/>
          </a:fontRef>
        </p:style>
        <p:txBody>
          <a:bodyPr rtlCol="0" anchor="ctr"/>
          <a:lstStyle/>
          <a:p>
            <a:pPr algn="ctr"/>
            <a:endParaRPr lang="zh-CN" altLang="en-US"/>
          </a:p>
        </p:txBody>
      </p:sp>
      <p:sp>
        <p:nvSpPr>
          <p:cNvPr id="13" name="文本框 12">
            <a:extLst>
              <a:ext uri="{FF2B5EF4-FFF2-40B4-BE49-F238E27FC236}">
                <a16:creationId xmlns:a16="http://schemas.microsoft.com/office/drawing/2014/main" id="{1EC56B36-CA4B-B58C-BBCF-5867FD55D2CC}"/>
              </a:ext>
            </a:extLst>
          </p:cNvPr>
          <p:cNvSpPr txBox="1"/>
          <p:nvPr/>
        </p:nvSpPr>
        <p:spPr>
          <a:xfrm>
            <a:off x="6046106" y="2335961"/>
            <a:ext cx="533911" cy="2677656"/>
          </a:xfrm>
          <a:prstGeom prst="rect">
            <a:avLst/>
          </a:prstGeom>
          <a:noFill/>
        </p:spPr>
        <p:txBody>
          <a:bodyPr wrap="square" rtlCol="0">
            <a:spAutoFit/>
          </a:bodyPr>
          <a:lstStyle/>
          <a:p>
            <a:pPr algn="ctr"/>
            <a:r>
              <a:rPr lang="zh-CN" altLang="en-US" sz="2400" dirty="0">
                <a:effectLst>
                  <a:outerShdw blurRad="38100" dist="38100" dir="2700000" algn="tl">
                    <a:srgbClr val="000000">
                      <a:alpha val="43137"/>
                    </a:srgbClr>
                  </a:outerShdw>
                </a:effectLst>
              </a:rPr>
              <a:t>展</a:t>
            </a:r>
            <a:endParaRPr lang="en-US" altLang="zh-CN" sz="2400" dirty="0">
              <a:effectLst>
                <a:outerShdw blurRad="38100" dist="38100" dir="2700000" algn="tl">
                  <a:srgbClr val="000000">
                    <a:alpha val="43137"/>
                  </a:srgbClr>
                </a:outerShdw>
              </a:effectLst>
            </a:endParaRPr>
          </a:p>
          <a:p>
            <a:pPr algn="ctr"/>
            <a:endParaRPr lang="en-US" altLang="zh-CN" sz="2400" dirty="0">
              <a:effectLst>
                <a:outerShdw blurRad="38100" dist="38100" dir="2700000" algn="tl">
                  <a:srgbClr val="000000">
                    <a:alpha val="43137"/>
                  </a:srgbClr>
                </a:outerShdw>
              </a:effectLst>
            </a:endParaRPr>
          </a:p>
          <a:p>
            <a:pPr algn="ctr"/>
            <a:r>
              <a:rPr lang="zh-CN" altLang="en-US" sz="2400" dirty="0">
                <a:effectLst>
                  <a:outerShdw blurRad="38100" dist="38100" dir="2700000" algn="tl">
                    <a:srgbClr val="000000">
                      <a:alpha val="43137"/>
                    </a:srgbClr>
                  </a:outerShdw>
                </a:effectLst>
              </a:rPr>
              <a:t>示</a:t>
            </a:r>
            <a:endParaRPr lang="en-US" altLang="zh-CN" sz="2400" dirty="0">
              <a:effectLst>
                <a:outerShdw blurRad="38100" dist="38100" dir="2700000" algn="tl">
                  <a:srgbClr val="000000">
                    <a:alpha val="43137"/>
                  </a:srgbClr>
                </a:outerShdw>
              </a:effectLst>
            </a:endParaRPr>
          </a:p>
          <a:p>
            <a:pPr algn="ctr"/>
            <a:endParaRPr lang="en-US" altLang="zh-CN" sz="2400" dirty="0">
              <a:effectLst>
                <a:outerShdw blurRad="38100" dist="38100" dir="2700000" algn="tl">
                  <a:srgbClr val="000000">
                    <a:alpha val="43137"/>
                  </a:srgbClr>
                </a:outerShdw>
              </a:effectLst>
            </a:endParaRPr>
          </a:p>
          <a:p>
            <a:pPr algn="ctr"/>
            <a:r>
              <a:rPr lang="zh-CN" altLang="en-US" sz="2400" dirty="0">
                <a:effectLst>
                  <a:outerShdw blurRad="38100" dist="38100" dir="2700000" algn="tl">
                    <a:srgbClr val="000000">
                      <a:alpha val="43137"/>
                    </a:srgbClr>
                  </a:outerShdw>
                </a:effectLst>
              </a:rPr>
              <a:t>内</a:t>
            </a:r>
            <a:endParaRPr lang="en-US" altLang="zh-CN" sz="2400" dirty="0">
              <a:effectLst>
                <a:outerShdw blurRad="38100" dist="38100" dir="2700000" algn="tl">
                  <a:srgbClr val="000000">
                    <a:alpha val="43137"/>
                  </a:srgbClr>
                </a:outerShdw>
              </a:effectLst>
            </a:endParaRPr>
          </a:p>
          <a:p>
            <a:pPr algn="ctr"/>
            <a:endParaRPr lang="en-US" altLang="zh-CN" sz="2400" dirty="0">
              <a:effectLst>
                <a:outerShdw blurRad="38100" dist="38100" dir="2700000" algn="tl">
                  <a:srgbClr val="000000">
                    <a:alpha val="43137"/>
                  </a:srgbClr>
                </a:outerShdw>
              </a:effectLst>
            </a:endParaRPr>
          </a:p>
          <a:p>
            <a:pPr algn="ctr"/>
            <a:r>
              <a:rPr lang="zh-CN" altLang="en-US" sz="2400" dirty="0">
                <a:effectLst>
                  <a:outerShdw blurRad="38100" dist="38100" dir="2700000" algn="tl">
                    <a:srgbClr val="000000">
                      <a:alpha val="43137"/>
                    </a:srgbClr>
                  </a:outerShdw>
                </a:effectLst>
              </a:rPr>
              <a:t>容</a:t>
            </a:r>
            <a:endParaRPr lang="zh-CN" altLang="en-US" dirty="0">
              <a:effectLst>
                <a:outerShdw blurRad="38100" dist="38100" dir="2700000" algn="tl">
                  <a:srgbClr val="000000">
                    <a:alpha val="43137"/>
                  </a:srgbClr>
                </a:outerShdw>
              </a:effectLst>
            </a:endParaRPr>
          </a:p>
        </p:txBody>
      </p:sp>
      <p:sp>
        <p:nvSpPr>
          <p:cNvPr id="14" name="文本框 13">
            <a:extLst>
              <a:ext uri="{FF2B5EF4-FFF2-40B4-BE49-F238E27FC236}">
                <a16:creationId xmlns:a16="http://schemas.microsoft.com/office/drawing/2014/main" id="{429A86BB-5923-F7B4-A7D3-3EC907EDD3C4}"/>
              </a:ext>
            </a:extLst>
          </p:cNvPr>
          <p:cNvSpPr txBox="1"/>
          <p:nvPr/>
        </p:nvSpPr>
        <p:spPr>
          <a:xfrm>
            <a:off x="7284514" y="2346569"/>
            <a:ext cx="806381" cy="400110"/>
          </a:xfrm>
          <a:prstGeom prst="rect">
            <a:avLst/>
          </a:prstGeom>
          <a:noFill/>
        </p:spPr>
        <p:txBody>
          <a:bodyPr wrap="square" rtlCol="0">
            <a:spAutoFit/>
          </a:bodyPr>
          <a:lstStyle/>
          <a:p>
            <a:pPr algn="ctr"/>
            <a:r>
              <a:rPr lang="zh-CN" altLang="en-US" sz="2000" dirty="0"/>
              <a:t>图 文</a:t>
            </a:r>
          </a:p>
        </p:txBody>
      </p:sp>
      <p:sp>
        <p:nvSpPr>
          <p:cNvPr id="16" name="文本框 15">
            <a:extLst>
              <a:ext uri="{FF2B5EF4-FFF2-40B4-BE49-F238E27FC236}">
                <a16:creationId xmlns:a16="http://schemas.microsoft.com/office/drawing/2014/main" id="{A7215E56-C568-8AF5-0FAE-6862494E3F9C}"/>
              </a:ext>
            </a:extLst>
          </p:cNvPr>
          <p:cNvSpPr txBox="1"/>
          <p:nvPr/>
        </p:nvSpPr>
        <p:spPr>
          <a:xfrm>
            <a:off x="8401432" y="2109646"/>
            <a:ext cx="2489143" cy="873957"/>
          </a:xfrm>
          <a:prstGeom prst="rect">
            <a:avLst/>
          </a:prstGeom>
          <a:noFill/>
        </p:spPr>
        <p:txBody>
          <a:bodyPr wrap="square" rtlCol="0">
            <a:spAutoFit/>
          </a:bodyPr>
          <a:lstStyle/>
          <a:p>
            <a:pPr algn="ctr">
              <a:lnSpc>
                <a:spcPct val="150000"/>
              </a:lnSpc>
            </a:pPr>
            <a:r>
              <a:rPr lang="zh-CN" altLang="zh-CN" sz="1800" dirty="0"/>
              <a:t>卫星对日定向技术的发展历史、现状</a:t>
            </a:r>
            <a:r>
              <a:rPr lang="zh-CN" altLang="en-US" sz="1800" dirty="0"/>
              <a:t>、</a:t>
            </a:r>
            <a:r>
              <a:rPr lang="zh-CN" altLang="zh-CN" sz="1800" dirty="0"/>
              <a:t>应用</a:t>
            </a:r>
            <a:endParaRPr lang="zh-CN" altLang="en-US" dirty="0"/>
          </a:p>
        </p:txBody>
      </p:sp>
      <p:sp>
        <p:nvSpPr>
          <p:cNvPr id="17" name="文本框 16">
            <a:extLst>
              <a:ext uri="{FF2B5EF4-FFF2-40B4-BE49-F238E27FC236}">
                <a16:creationId xmlns:a16="http://schemas.microsoft.com/office/drawing/2014/main" id="{6ECDAF6D-E26A-8514-6340-ED57C255FEB7}"/>
              </a:ext>
            </a:extLst>
          </p:cNvPr>
          <p:cNvSpPr txBox="1"/>
          <p:nvPr/>
        </p:nvSpPr>
        <p:spPr>
          <a:xfrm>
            <a:off x="7284515" y="4478629"/>
            <a:ext cx="806381" cy="400110"/>
          </a:xfrm>
          <a:prstGeom prst="rect">
            <a:avLst/>
          </a:prstGeom>
          <a:noFill/>
        </p:spPr>
        <p:txBody>
          <a:bodyPr wrap="square" rtlCol="0">
            <a:spAutoFit/>
          </a:bodyPr>
          <a:lstStyle/>
          <a:p>
            <a:pPr algn="ctr"/>
            <a:r>
              <a:rPr lang="zh-CN" altLang="en-US" sz="2000" dirty="0"/>
              <a:t>互 动</a:t>
            </a:r>
          </a:p>
        </p:txBody>
      </p:sp>
      <p:sp>
        <p:nvSpPr>
          <p:cNvPr id="18" name="左大括号 17">
            <a:extLst>
              <a:ext uri="{FF2B5EF4-FFF2-40B4-BE49-F238E27FC236}">
                <a16:creationId xmlns:a16="http://schemas.microsoft.com/office/drawing/2014/main" id="{1C597A74-235A-EFFD-119A-43CB09153073}"/>
              </a:ext>
            </a:extLst>
          </p:cNvPr>
          <p:cNvSpPr/>
          <p:nvPr/>
        </p:nvSpPr>
        <p:spPr>
          <a:xfrm>
            <a:off x="8027706" y="3901505"/>
            <a:ext cx="533911" cy="1554357"/>
          </a:xfrm>
          <a:prstGeom prst="leftBrace">
            <a:avLst/>
          </a:prstGeom>
        </p:spPr>
        <p:style>
          <a:lnRef idx="3">
            <a:schemeClr val="dk1"/>
          </a:lnRef>
          <a:fillRef idx="0">
            <a:schemeClr val="dk1"/>
          </a:fillRef>
          <a:effectRef idx="2">
            <a:schemeClr val="dk1"/>
          </a:effectRef>
          <a:fontRef idx="minor">
            <a:schemeClr val="tx1"/>
          </a:fontRef>
        </p:style>
        <p:txBody>
          <a:bodyPr rtlCol="0" anchor="ctr"/>
          <a:lstStyle/>
          <a:p>
            <a:pPr algn="ctr"/>
            <a:endParaRPr lang="zh-CN" altLang="en-US"/>
          </a:p>
        </p:txBody>
      </p:sp>
      <p:sp>
        <p:nvSpPr>
          <p:cNvPr id="19" name="文本框 18">
            <a:extLst>
              <a:ext uri="{FF2B5EF4-FFF2-40B4-BE49-F238E27FC236}">
                <a16:creationId xmlns:a16="http://schemas.microsoft.com/office/drawing/2014/main" id="{C9CF2D86-6C35-D84A-A6BC-16E87DDFE41A}"/>
              </a:ext>
            </a:extLst>
          </p:cNvPr>
          <p:cNvSpPr txBox="1"/>
          <p:nvPr/>
        </p:nvSpPr>
        <p:spPr>
          <a:xfrm>
            <a:off x="8595993" y="3654844"/>
            <a:ext cx="2489143" cy="454035"/>
          </a:xfrm>
          <a:prstGeom prst="rect">
            <a:avLst/>
          </a:prstGeom>
          <a:noFill/>
        </p:spPr>
        <p:txBody>
          <a:bodyPr wrap="square" rtlCol="0">
            <a:spAutoFit/>
          </a:bodyPr>
          <a:lstStyle/>
          <a:p>
            <a:pPr algn="ctr">
              <a:lnSpc>
                <a:spcPct val="150000"/>
              </a:lnSpc>
            </a:pPr>
            <a:r>
              <a:rPr lang="zh-CN" altLang="zh-CN" dirty="0"/>
              <a:t>卫星的绕地公转运动</a:t>
            </a:r>
            <a:endParaRPr lang="zh-CN" altLang="en-US" dirty="0"/>
          </a:p>
        </p:txBody>
      </p:sp>
      <p:sp>
        <p:nvSpPr>
          <p:cNvPr id="20" name="文本框 19">
            <a:extLst>
              <a:ext uri="{FF2B5EF4-FFF2-40B4-BE49-F238E27FC236}">
                <a16:creationId xmlns:a16="http://schemas.microsoft.com/office/drawing/2014/main" id="{3EEE5FC0-9FCC-ABA8-4B66-2A6A21A41084}"/>
              </a:ext>
            </a:extLst>
          </p:cNvPr>
          <p:cNvSpPr txBox="1"/>
          <p:nvPr/>
        </p:nvSpPr>
        <p:spPr>
          <a:xfrm>
            <a:off x="8595993" y="5019513"/>
            <a:ext cx="2489143" cy="873957"/>
          </a:xfrm>
          <a:prstGeom prst="rect">
            <a:avLst/>
          </a:prstGeom>
          <a:noFill/>
        </p:spPr>
        <p:txBody>
          <a:bodyPr wrap="square" rtlCol="0">
            <a:spAutoFit/>
          </a:bodyPr>
          <a:lstStyle/>
          <a:p>
            <a:pPr algn="ctr">
              <a:lnSpc>
                <a:spcPct val="150000"/>
              </a:lnSpc>
            </a:pPr>
            <a:r>
              <a:rPr lang="zh-CN" altLang="zh-CN" dirty="0"/>
              <a:t>公转过程中太阳能帆板对日定向</a:t>
            </a:r>
            <a:endParaRPr lang="zh-CN" altLang="en-US" dirty="0"/>
          </a:p>
        </p:txBody>
      </p:sp>
      <p:sp>
        <p:nvSpPr>
          <p:cNvPr id="5" name="灯片编号占位符 4">
            <a:extLst>
              <a:ext uri="{FF2B5EF4-FFF2-40B4-BE49-F238E27FC236}">
                <a16:creationId xmlns:a16="http://schemas.microsoft.com/office/drawing/2014/main" id="{4E3AF8DC-3397-419D-815F-6308582AF0CF}"/>
              </a:ext>
            </a:extLst>
          </p:cNvPr>
          <p:cNvSpPr>
            <a:spLocks noGrp="1"/>
          </p:cNvSpPr>
          <p:nvPr>
            <p:ph type="sldNum" sz="quarter" idx="12"/>
          </p:nvPr>
        </p:nvSpPr>
        <p:spPr/>
        <p:txBody>
          <a:bodyPr/>
          <a:lstStyle/>
          <a:p>
            <a:fld id="{565CE74E-AB26-4998-AD42-012C4C1AD076}" type="slidenum">
              <a:rPr lang="zh-CN" altLang="en-US" smtClean="0"/>
              <a:t>6</a:t>
            </a:fld>
            <a:endParaRPr lang="zh-CN" altLang="en-US"/>
          </a:p>
        </p:txBody>
      </p:sp>
    </p:spTree>
    <p:extLst>
      <p:ext uri="{BB962C8B-B14F-4D97-AF65-F5344CB8AC3E}">
        <p14:creationId xmlns:p14="http://schemas.microsoft.com/office/powerpoint/2010/main" val="1968967468"/>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1"/>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1665"/>
          </a:xfrm>
          <a:prstGeom prst="rect">
            <a:avLst/>
          </a:prstGeom>
          <a:noFill/>
        </p:spPr>
        <p:txBody>
          <a:bodyPr wrap="square">
            <a:spAutoFit/>
          </a:bodyPr>
          <a:lstStyle/>
          <a:p>
            <a:pPr lvl="0">
              <a:defRPr/>
            </a:pPr>
            <a:r>
              <a:rPr lang="en-US" altLang="zh-CN" sz="2400" dirty="0">
                <a:solidFill>
                  <a:prstClr val="white"/>
                </a:solidFill>
                <a:latin typeface="HelveticaExt-Normal"/>
                <a:ea typeface="OPPOSans B"/>
              </a:rPr>
              <a:t>1.4 </a:t>
            </a:r>
            <a:r>
              <a:rPr lang="zh-CN" altLang="en-US" sz="2400" dirty="0">
                <a:solidFill>
                  <a:prstClr val="white"/>
                </a:solidFill>
                <a:latin typeface="HelveticaExt-Normal"/>
                <a:ea typeface="OPPOSans B"/>
              </a:rPr>
              <a:t>互动设计</a:t>
            </a: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4">
              <a:biLevel thresh="25000"/>
            </a:blip>
            <a:srcRect l="30188"/>
            <a:stretch>
              <a:fillRect/>
            </a:stretch>
          </p:blipFill>
          <p:spPr>
            <a:xfrm>
              <a:off x="10483399" y="211219"/>
              <a:ext cx="1621585" cy="701101"/>
            </a:xfrm>
            <a:prstGeom prst="rect">
              <a:avLst/>
            </a:prstGeom>
          </p:spPr>
        </p:pic>
      </p:grpSp>
      <p:sp>
        <p:nvSpPr>
          <p:cNvPr id="7" name="文本框 6">
            <a:extLst>
              <a:ext uri="{FF2B5EF4-FFF2-40B4-BE49-F238E27FC236}">
                <a16:creationId xmlns:a16="http://schemas.microsoft.com/office/drawing/2014/main" id="{746AA8F3-2130-69B8-1FCF-0556119C1D37}"/>
              </a:ext>
            </a:extLst>
          </p:cNvPr>
          <p:cNvSpPr txBox="1"/>
          <p:nvPr/>
        </p:nvSpPr>
        <p:spPr>
          <a:xfrm>
            <a:off x="-131694" y="1063993"/>
            <a:ext cx="10724194" cy="490840"/>
          </a:xfrm>
          <a:prstGeom prst="rect">
            <a:avLst/>
          </a:prstGeom>
          <a:noFill/>
        </p:spPr>
        <p:txBody>
          <a:bodyPr wrap="square">
            <a:spAutoFit/>
          </a:bodyPr>
          <a:lstStyle/>
          <a:p>
            <a:pPr indent="304800" algn="just">
              <a:lnSpc>
                <a:spcPct val="150000"/>
              </a:lnSpc>
            </a:pPr>
            <a:r>
              <a:rPr lang="zh-CN" altLang="en-US" sz="2000" kern="100" dirty="0">
                <a:latin typeface="黑体" panose="02010609060101010101" pitchFamily="49" charset="-122"/>
                <a:ea typeface="黑体" panose="02010609060101010101" pitchFamily="49" charset="-122"/>
                <a:cs typeface="Times New Roman" panose="02020603050405020304" pitchFamily="18" charset="0"/>
              </a:rPr>
              <a:t>互动过程设计：</a:t>
            </a:r>
            <a:endParaRPr lang="zh-CN" altLang="zh-CN" sz="2000" kern="100" dirty="0">
              <a:latin typeface="黑体" panose="02010609060101010101" pitchFamily="49" charset="-122"/>
              <a:ea typeface="黑体" panose="02010609060101010101" pitchFamily="49" charset="-122"/>
              <a:cs typeface="Times New Roman" panose="02020603050405020304" pitchFamily="18" charset="0"/>
            </a:endParaRPr>
          </a:p>
        </p:txBody>
      </p:sp>
      <p:pic>
        <p:nvPicPr>
          <p:cNvPr id="8" name="图片 7">
            <a:extLst>
              <a:ext uri="{FF2B5EF4-FFF2-40B4-BE49-F238E27FC236}">
                <a16:creationId xmlns:a16="http://schemas.microsoft.com/office/drawing/2014/main" id="{73CCCF67-413D-E3D2-9742-2D406D2700F9}"/>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148236" y="1063993"/>
            <a:ext cx="5148837" cy="5263610"/>
          </a:xfrm>
          <a:prstGeom prst="rect">
            <a:avLst/>
          </a:prstGeom>
          <a:noFill/>
          <a:ln>
            <a:noFill/>
          </a:ln>
        </p:spPr>
      </p:pic>
      <p:sp>
        <p:nvSpPr>
          <p:cNvPr id="3" name="灯片编号占位符 2">
            <a:extLst>
              <a:ext uri="{FF2B5EF4-FFF2-40B4-BE49-F238E27FC236}">
                <a16:creationId xmlns:a16="http://schemas.microsoft.com/office/drawing/2014/main" id="{16B6C93F-8C16-48E6-95EF-C7D9FD1E2B56}"/>
              </a:ext>
            </a:extLst>
          </p:cNvPr>
          <p:cNvSpPr>
            <a:spLocks noGrp="1"/>
          </p:cNvSpPr>
          <p:nvPr>
            <p:ph type="sldNum" sz="quarter" idx="12"/>
          </p:nvPr>
        </p:nvSpPr>
        <p:spPr/>
        <p:txBody>
          <a:bodyPr/>
          <a:lstStyle/>
          <a:p>
            <a:fld id="{565CE74E-AB26-4998-AD42-012C4C1AD076}" type="slidenum">
              <a:rPr lang="zh-CN" altLang="en-US" smtClean="0"/>
              <a:t>7</a:t>
            </a:fld>
            <a:endParaRPr lang="zh-CN" altLang="en-US"/>
          </a:p>
        </p:txBody>
      </p:sp>
    </p:spTree>
    <p:extLst>
      <p:ext uri="{BB962C8B-B14F-4D97-AF65-F5344CB8AC3E}">
        <p14:creationId xmlns:p14="http://schemas.microsoft.com/office/powerpoint/2010/main" val="669840649"/>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65334"/>
            <a:ext cx="12192000" cy="8831509"/>
          </a:xfrm>
          <a:prstGeom prst="rect">
            <a:avLst/>
          </a:prstGeom>
        </p:spPr>
      </p:pic>
      <p:sp>
        <p:nvSpPr>
          <p:cNvPr id="5" name="矩形 4"/>
          <p:cNvSpPr/>
          <p:nvPr/>
        </p:nvSpPr>
        <p:spPr>
          <a:xfrm>
            <a:off x="0" y="0"/>
            <a:ext cx="12192000" cy="7688943"/>
          </a:xfrm>
          <a:prstGeom prst="rect">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1" name="组合 20"/>
          <p:cNvGrpSpPr/>
          <p:nvPr/>
        </p:nvGrpSpPr>
        <p:grpSpPr>
          <a:xfrm>
            <a:off x="-2846530" y="-1770744"/>
            <a:ext cx="8399978" cy="7688943"/>
            <a:chOff x="-2846530" y="-1770744"/>
            <a:chExt cx="8399978" cy="7688943"/>
          </a:xfrm>
        </p:grpSpPr>
        <p:sp>
          <p:nvSpPr>
            <p:cNvPr id="2" name="椭圆 1"/>
            <p:cNvSpPr/>
            <p:nvPr/>
          </p:nvSpPr>
          <p:spPr>
            <a:xfrm>
              <a:off x="-2846530" y="-1770744"/>
              <a:ext cx="7688943" cy="7688943"/>
            </a:xfrm>
            <a:prstGeom prst="ellipse">
              <a:avLst/>
            </a:prstGeom>
            <a:gradFill>
              <a:gsLst>
                <a:gs pos="0">
                  <a:srgbClr val="703881"/>
                </a:gs>
                <a:gs pos="66000">
                  <a:srgbClr val="882959"/>
                </a:gs>
              </a:gsLst>
              <a:lin ang="5400000" scaled="1"/>
            </a:gradFill>
            <a:ln>
              <a:noFill/>
            </a:ln>
            <a:effectLst>
              <a:outerShdw blurRad="2794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微软雅黑" panose="020B0503020204020204" charset="-122"/>
                <a:cs typeface="+mn-cs"/>
              </a:endParaRPr>
            </a:p>
          </p:txBody>
        </p:sp>
        <p:sp>
          <p:nvSpPr>
            <p:cNvPr id="15" name="文本框 14"/>
            <p:cNvSpPr txBox="1"/>
            <p:nvPr/>
          </p:nvSpPr>
          <p:spPr>
            <a:xfrm>
              <a:off x="-1214742" y="1161142"/>
              <a:ext cx="6768190" cy="37702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3900" b="0" i="0" u="none" strike="noStrike" kern="1200" cap="none" spc="0" normalizeH="0" baseline="0" noProof="0" dirty="0">
                  <a:ln>
                    <a:noFill/>
                  </a:ln>
                  <a:solidFill>
                    <a:prstClr val="white"/>
                  </a:solidFill>
                  <a:effectLst>
                    <a:outerShdw blurRad="63500" sx="101000" sy="101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rPr>
                <a:t>02</a:t>
              </a:r>
              <a:endParaRPr kumimoji="0" lang="zh-CN" altLang="en-US" sz="23900" b="0" i="0" u="none" strike="noStrike" kern="1200" cap="none" spc="0" normalizeH="0" baseline="0" noProof="0" dirty="0">
                <a:ln>
                  <a:noFill/>
                </a:ln>
                <a:solidFill>
                  <a:prstClr val="white"/>
                </a:solidFill>
                <a:effectLst>
                  <a:outerShdw blurRad="63500" sx="101000" sy="101000" algn="ctr" rotWithShape="0">
                    <a:prstClr val="black">
                      <a:alpha val="40000"/>
                    </a:prstClr>
                  </a:outerShdw>
                </a:effectLst>
                <a:uLnTx/>
                <a:uFillTx/>
                <a:latin typeface="思源黑体 CN Bold" panose="020B0800000000000000" pitchFamily="34" charset="-122"/>
                <a:ea typeface="思源黑体 CN Bold" panose="020B0800000000000000" pitchFamily="34" charset="-122"/>
                <a:cs typeface="+mn-cs"/>
              </a:endParaRPr>
            </a:p>
          </p:txBody>
        </p:sp>
      </p:grpSp>
      <p:grpSp>
        <p:nvGrpSpPr>
          <p:cNvPr id="18" name="组合 17"/>
          <p:cNvGrpSpPr/>
          <p:nvPr/>
        </p:nvGrpSpPr>
        <p:grpSpPr>
          <a:xfrm>
            <a:off x="5140956" y="2474962"/>
            <a:ext cx="6477909" cy="1104149"/>
            <a:chOff x="5862081" y="2617371"/>
            <a:chExt cx="6477909" cy="1104149"/>
          </a:xfrm>
        </p:grpSpPr>
        <p:sp>
          <p:nvSpPr>
            <p:cNvPr id="16" name="文本框 15"/>
            <p:cNvSpPr txBox="1"/>
            <p:nvPr/>
          </p:nvSpPr>
          <p:spPr>
            <a:xfrm>
              <a:off x="5862082" y="2617371"/>
              <a:ext cx="6477908" cy="1015663"/>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lang="zh-CN" altLang="en-US" sz="6000" b="1" dirty="0">
                  <a:solidFill>
                    <a:prstClr val="black">
                      <a:lumMod val="75000"/>
                      <a:lumOff val="25000"/>
                    </a:prstClr>
                  </a:solidFill>
                  <a:latin typeface="思源黑体 CN Medium" panose="020B0600000000000000" pitchFamily="34" charset="-122"/>
                  <a:ea typeface="思源黑体 CN Medium" panose="020B0600000000000000" pitchFamily="34" charset="-122"/>
                </a:rPr>
                <a:t>设计任务</a:t>
              </a:r>
              <a:r>
                <a:rPr kumimoji="0" lang="zh-CN" altLang="en-US" sz="6000" b="1" i="0" u="none" strike="noStrike" kern="1200" cap="none" spc="0" normalizeH="0" baseline="0" noProof="0" dirty="0">
                  <a:ln>
                    <a:noFill/>
                  </a:ln>
                  <a:solidFill>
                    <a:prstClr val="black">
                      <a:lumMod val="75000"/>
                      <a:lumOff val="25000"/>
                    </a:prstClr>
                  </a:solidFill>
                  <a:effectLst/>
                  <a:uLnTx/>
                  <a:uFillTx/>
                  <a:latin typeface="思源黑体 CN Medium" panose="020B0600000000000000" pitchFamily="34" charset="-122"/>
                  <a:ea typeface="思源黑体 CN Medium" panose="020B0600000000000000" pitchFamily="34" charset="-122"/>
                  <a:cs typeface="+mn-cs"/>
                </a:rPr>
                <a:t> </a:t>
              </a:r>
            </a:p>
          </p:txBody>
        </p:sp>
        <p:sp>
          <p:nvSpPr>
            <p:cNvPr id="17" name="文本框 16"/>
            <p:cNvSpPr txBox="1"/>
            <p:nvPr/>
          </p:nvSpPr>
          <p:spPr>
            <a:xfrm>
              <a:off x="5862081" y="3506076"/>
              <a:ext cx="6477909" cy="215444"/>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rPr>
                <a:t>Design  task</a:t>
              </a:r>
              <a:endParaRPr kumimoji="0" lang="zh-CN" altLang="en-US" sz="800" b="0" i="0" u="none" strike="noStrike" kern="1200" cap="none" spc="0" normalizeH="0" baseline="0" noProof="0" dirty="0">
                <a:ln>
                  <a:noFill/>
                </a:ln>
                <a:solidFill>
                  <a:prstClr val="black"/>
                </a:solidFill>
                <a:effectLst/>
                <a:uLnTx/>
                <a:uFillTx/>
                <a:latin typeface="思源黑体 CN Light" panose="02010600030101010101" pitchFamily="34" charset="-122"/>
                <a:ea typeface="思源黑体 CN Light" panose="02010600030101010101" pitchFamily="34" charset="-122"/>
                <a:cs typeface="+mn-cs"/>
              </a:endParaRPr>
            </a:p>
          </p:txBody>
        </p:sp>
      </p:grpSp>
      <p:sp>
        <p:nvSpPr>
          <p:cNvPr id="19" name="圆: 空心 18"/>
          <p:cNvSpPr/>
          <p:nvPr/>
        </p:nvSpPr>
        <p:spPr>
          <a:xfrm>
            <a:off x="10808543" y="5670073"/>
            <a:ext cx="2766913" cy="2766913"/>
          </a:xfrm>
          <a:prstGeom prst="donut">
            <a:avLst/>
          </a:prstGeom>
          <a:gradFill>
            <a:gsLst>
              <a:gs pos="0">
                <a:srgbClr val="703881"/>
              </a:gs>
              <a:gs pos="66000">
                <a:srgbClr val="88295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微软雅黑" panose="020B0503020204020204" charset="-122"/>
              <a:cs typeface="+mn-cs"/>
            </a:endParaRPr>
          </a:p>
        </p:txBody>
      </p:sp>
      <p:sp>
        <p:nvSpPr>
          <p:cNvPr id="6" name="灯片编号占位符 5">
            <a:extLst>
              <a:ext uri="{FF2B5EF4-FFF2-40B4-BE49-F238E27FC236}">
                <a16:creationId xmlns:a16="http://schemas.microsoft.com/office/drawing/2014/main" id="{22E929E3-AD8A-410F-8FF3-9C3F9ABC656A}"/>
              </a:ext>
            </a:extLst>
          </p:cNvPr>
          <p:cNvSpPr>
            <a:spLocks noGrp="1"/>
          </p:cNvSpPr>
          <p:nvPr>
            <p:ph type="sldNum" sz="quarter" idx="12"/>
          </p:nvPr>
        </p:nvSpPr>
        <p:spPr/>
        <p:txBody>
          <a:bodyPr/>
          <a:lstStyle/>
          <a:p>
            <a:fld id="{565CE74E-AB26-4998-AD42-012C4C1AD076}" type="slidenum">
              <a:rPr lang="zh-CN" altLang="en-US" smtClean="0"/>
              <a:t>8</a:t>
            </a:fld>
            <a:endParaRPr lang="zh-CN" altLang="en-US"/>
          </a:p>
        </p:txBody>
      </p:sp>
    </p:spTree>
    <p:custDataLst>
      <p:tags r:id="rId1"/>
    </p:custDataLst>
    <p:extLst>
      <p:ext uri="{BB962C8B-B14F-4D97-AF65-F5344CB8AC3E}">
        <p14:creationId xmlns:p14="http://schemas.microsoft.com/office/powerpoint/2010/main" val="2831860092"/>
      </p:ext>
    </p:extLst>
  </p:cSld>
  <p:clrMapOvr>
    <a:masterClrMapping/>
  </p:clrMapOvr>
  <p:transition spd="slow" advTm="242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par>
                                <p:cTn id="10" presetID="22" presetClass="entr" presetSubtype="8" fill="hold"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wipe(left)">
                                      <p:cBhvr>
                                        <p:cTn id="12" dur="500"/>
                                        <p:tgtEl>
                                          <p:spTgt spid="18"/>
                                        </p:tgtEl>
                                      </p:cBhvr>
                                    </p:animEffect>
                                  </p:childTnLst>
                                </p:cTn>
                              </p:par>
                              <p:par>
                                <p:cTn id="13" presetID="42"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1000"/>
                                        <p:tgtEl>
                                          <p:spTgt spid="19"/>
                                        </p:tgtEl>
                                      </p:cBhvr>
                                    </p:animEffect>
                                    <p:anim calcmode="lin" valueType="num">
                                      <p:cBhvr>
                                        <p:cTn id="16" dur="1000" fill="hold"/>
                                        <p:tgtEl>
                                          <p:spTgt spid="19"/>
                                        </p:tgtEl>
                                        <p:attrNameLst>
                                          <p:attrName>ppt_x</p:attrName>
                                        </p:attrNameLst>
                                      </p:cBhvr>
                                      <p:tavLst>
                                        <p:tav tm="0">
                                          <p:val>
                                            <p:strVal val="#ppt_x"/>
                                          </p:val>
                                        </p:tav>
                                        <p:tav tm="100000">
                                          <p:val>
                                            <p:strVal val="#ppt_x"/>
                                          </p:val>
                                        </p:tav>
                                      </p:tavLst>
                                    </p:anim>
                                    <p:anim calcmode="lin" valueType="num">
                                      <p:cBhvr>
                                        <p:cTn id="17"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0" y="-37837"/>
            <a:ext cx="12192000" cy="914610"/>
          </a:xfrm>
          <a:prstGeom prst="rect">
            <a:avLst/>
          </a:prstGeom>
          <a:gradFill>
            <a:gsLst>
              <a:gs pos="32000">
                <a:srgbClr val="703881"/>
              </a:gs>
              <a:gs pos="100000">
                <a:srgbClr val="882959"/>
              </a:gs>
            </a:gsLst>
            <a:lin ang="81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Ext-Normal"/>
              <a:ea typeface="OPPOSans B"/>
              <a:cs typeface="+mn-cs"/>
            </a:endParaRPr>
          </a:p>
        </p:txBody>
      </p:sp>
      <p:sp>
        <p:nvSpPr>
          <p:cNvPr id="53" name="文本框 52"/>
          <p:cNvSpPr txBox="1"/>
          <p:nvPr/>
        </p:nvSpPr>
        <p:spPr>
          <a:xfrm>
            <a:off x="732913" y="229219"/>
            <a:ext cx="10626387" cy="461665"/>
          </a:xfrm>
          <a:prstGeom prst="rect">
            <a:avLst/>
          </a:prstGeom>
          <a:noFill/>
        </p:spPr>
        <p:txBody>
          <a:bodyPr wrap="square">
            <a:spAutoFit/>
          </a:bodyPr>
          <a:lstStyle/>
          <a:p>
            <a:pPr lvl="0">
              <a:defRPr/>
            </a:pPr>
            <a:r>
              <a:rPr kumimoji="0" lang="en-US" altLang="zh-CN" sz="2400" b="0" i="0" u="none" strike="noStrike" kern="1200" cap="none" spc="0" normalizeH="0" baseline="0" noProof="0" dirty="0">
                <a:ln>
                  <a:noFill/>
                </a:ln>
                <a:solidFill>
                  <a:prstClr val="white"/>
                </a:solidFill>
                <a:effectLst/>
                <a:uLnTx/>
                <a:uFillTx/>
                <a:latin typeface="HelveticaExt-Normal"/>
                <a:ea typeface="OPPOSans B"/>
                <a:cs typeface="+mn-cs"/>
              </a:rPr>
              <a:t>2.1 </a:t>
            </a:r>
            <a:r>
              <a:rPr kumimoji="0" lang="zh-CN" altLang="en-US" sz="2400" b="0" i="0" u="none" strike="noStrike" kern="1200" cap="none" spc="0" normalizeH="0" baseline="0" noProof="0" dirty="0">
                <a:ln>
                  <a:noFill/>
                </a:ln>
                <a:solidFill>
                  <a:prstClr val="white"/>
                </a:solidFill>
                <a:effectLst/>
                <a:uLnTx/>
                <a:uFillTx/>
                <a:latin typeface="HelveticaExt-Normal"/>
                <a:ea typeface="OPPOSans B"/>
                <a:cs typeface="+mn-cs"/>
              </a:rPr>
              <a:t>设计任务与关键指标</a:t>
            </a:r>
          </a:p>
        </p:txBody>
      </p:sp>
      <p:grpSp>
        <p:nvGrpSpPr>
          <p:cNvPr id="57" name="组合 56"/>
          <p:cNvGrpSpPr/>
          <p:nvPr/>
        </p:nvGrpSpPr>
        <p:grpSpPr>
          <a:xfrm>
            <a:off x="9941481" y="183165"/>
            <a:ext cx="2053553" cy="606393"/>
            <a:chOff x="9730702" y="211219"/>
            <a:chExt cx="2374282" cy="701101"/>
          </a:xfrm>
        </p:grpSpPr>
        <p:pic>
          <p:nvPicPr>
            <p:cNvPr id="58" name="图片 57"/>
            <p:cNvPicPr>
              <a:picLocks noChangeAspect="1"/>
            </p:cNvPicPr>
            <p:nvPr userDrawn="1"/>
          </p:nvPicPr>
          <p:blipFill>
            <a:blip r:embed="rId3" cstate="print">
              <a:lum bright="70000" contrast="-70000"/>
              <a:extLst>
                <a:ext uri="{BEBA8EAE-BF5A-486C-A8C5-ECC9F3942E4B}">
                  <a14:imgProps xmlns:a14="http://schemas.microsoft.com/office/drawing/2010/main">
                    <a14:imgLayer r:embed="rId4">
                      <a14:imgEffect>
                        <a14:brightnessContrast bright="12000" contrast="-40000"/>
                      </a14:imgEffect>
                      <a14:imgEffect>
                        <a14:saturation sat="0"/>
                      </a14:imgEffect>
                      <a14:imgEffect>
                        <a14:sharpenSoften amount="-50000"/>
                      </a14:imgEffect>
                    </a14:imgLayer>
                  </a14:imgProps>
                </a:ext>
                <a:ext uri="{28A0092B-C50C-407E-A947-70E740481C1C}">
                  <a14:useLocalDpi xmlns:a14="http://schemas.microsoft.com/office/drawing/2010/main" val="0"/>
                </a:ext>
              </a:extLst>
            </a:blip>
            <a:stretch>
              <a:fillRect/>
            </a:stretch>
          </p:blipFill>
          <p:spPr>
            <a:xfrm>
              <a:off x="9730702" y="211219"/>
              <a:ext cx="665681" cy="665680"/>
            </a:xfrm>
            <a:prstGeom prst="rect">
              <a:avLst/>
            </a:prstGeom>
          </p:spPr>
        </p:pic>
        <p:pic>
          <p:nvPicPr>
            <p:cNvPr id="66" name="图片 65"/>
            <p:cNvPicPr>
              <a:picLocks noChangeAspect="1"/>
            </p:cNvPicPr>
            <p:nvPr/>
          </p:nvPicPr>
          <p:blipFill rotWithShape="1">
            <a:blip r:embed="rId5">
              <a:biLevel thresh="25000"/>
            </a:blip>
            <a:srcRect l="30188"/>
            <a:stretch>
              <a:fillRect/>
            </a:stretch>
          </p:blipFill>
          <p:spPr>
            <a:xfrm>
              <a:off x="10483399" y="211219"/>
              <a:ext cx="1621585" cy="701101"/>
            </a:xfrm>
            <a:prstGeom prst="rect">
              <a:avLst/>
            </a:prstGeom>
          </p:spPr>
        </p:pic>
      </p:grpSp>
      <p:sp>
        <p:nvSpPr>
          <p:cNvPr id="9" name="文本框 8">
            <a:extLst>
              <a:ext uri="{FF2B5EF4-FFF2-40B4-BE49-F238E27FC236}">
                <a16:creationId xmlns:a16="http://schemas.microsoft.com/office/drawing/2014/main" id="{4021D1F1-0815-4FDB-B04F-BFA9A9DCCB50}"/>
              </a:ext>
            </a:extLst>
          </p:cNvPr>
          <p:cNvSpPr txBox="1"/>
          <p:nvPr/>
        </p:nvSpPr>
        <p:spPr>
          <a:xfrm>
            <a:off x="638506" y="1330491"/>
            <a:ext cx="4759608" cy="5032471"/>
          </a:xfrm>
          <a:prstGeom prst="rect">
            <a:avLst/>
          </a:prstGeom>
          <a:noFill/>
        </p:spPr>
        <p:txBody>
          <a:bodyPr wrap="square">
            <a:spAutoFit/>
          </a:bodyPr>
          <a:lstStyle/>
          <a:p>
            <a:pPr marL="342900" lvl="0" indent="-342900" algn="just">
              <a:lnSpc>
                <a:spcPts val="2000"/>
              </a:lnSpc>
              <a:spcBef>
                <a:spcPts val="600"/>
              </a:spcBef>
              <a:spcAft>
                <a:spcPts val="600"/>
              </a:spcAft>
              <a:buFont typeface="Wingdings" panose="05000000000000000000" pitchFamily="2" charset="2"/>
              <a:buChar char="p"/>
            </a:pPr>
            <a:r>
              <a:rPr lang="zh-CN" altLang="zh-CN" sz="1800" b="1" kern="100" dirty="0">
                <a:effectLst/>
                <a:latin typeface="+mn-ea"/>
                <a:cs typeface="Times New Roman" panose="02020603050405020304" pitchFamily="18" charset="0"/>
              </a:rPr>
              <a:t>预设动画设计：</a:t>
            </a:r>
            <a:r>
              <a:rPr lang="zh-CN" altLang="zh-CN" sz="1800" kern="100" dirty="0">
                <a:effectLst/>
                <a:latin typeface="+mn-ea"/>
                <a:cs typeface="Times New Roman" panose="02020603050405020304" pitchFamily="18" charset="0"/>
              </a:rPr>
              <a:t>该部分主要需要设计预设动画，包括常态展示阶段的介绍动画，观众控制阶段的开始前引导动画</a:t>
            </a:r>
            <a:r>
              <a:rPr lang="en-US" altLang="zh-CN" sz="1800" kern="100" dirty="0">
                <a:effectLst/>
                <a:latin typeface="+mn-ea"/>
                <a:cs typeface="Times New Roman" panose="02020603050405020304" pitchFamily="18" charset="0"/>
              </a:rPr>
              <a:t>+</a:t>
            </a:r>
            <a:r>
              <a:rPr lang="zh-CN" altLang="zh-CN" sz="1800" kern="100" dirty="0">
                <a:effectLst/>
                <a:latin typeface="+mn-ea"/>
                <a:cs typeface="Times New Roman" panose="02020603050405020304" pitchFamily="18" charset="0"/>
              </a:rPr>
              <a:t>任务说明、结算动画等；</a:t>
            </a:r>
          </a:p>
          <a:p>
            <a:pPr marL="342900" lvl="0" indent="-342900" algn="just">
              <a:lnSpc>
                <a:spcPts val="2000"/>
              </a:lnSpc>
              <a:spcBef>
                <a:spcPts val="600"/>
              </a:spcBef>
              <a:spcAft>
                <a:spcPts val="600"/>
              </a:spcAft>
              <a:buFont typeface="Wingdings" panose="05000000000000000000" pitchFamily="2" charset="2"/>
              <a:buChar char="p"/>
            </a:pPr>
            <a:r>
              <a:rPr lang="zh-CN" altLang="zh-CN" sz="1800" b="1" kern="100" dirty="0">
                <a:effectLst/>
                <a:latin typeface="+mn-ea"/>
                <a:cs typeface="Times New Roman" panose="02020603050405020304" pitchFamily="18" charset="0"/>
              </a:rPr>
              <a:t>展品外形设计：</a:t>
            </a:r>
            <a:r>
              <a:rPr lang="zh-CN" altLang="zh-CN" sz="1800" kern="100" dirty="0">
                <a:effectLst/>
                <a:latin typeface="+mn-ea"/>
                <a:cs typeface="Times New Roman" panose="02020603050405020304" pitchFamily="18" charset="0"/>
              </a:rPr>
              <a:t>该部分主要需要设计卫星、地球、太阳与展览柜等展示物品的外形，目的是能够提高展品的逼真性；</a:t>
            </a:r>
          </a:p>
          <a:p>
            <a:pPr marL="342900" lvl="0" indent="-342900" algn="just">
              <a:lnSpc>
                <a:spcPts val="2000"/>
              </a:lnSpc>
              <a:spcBef>
                <a:spcPts val="600"/>
              </a:spcBef>
              <a:spcAft>
                <a:spcPts val="600"/>
              </a:spcAft>
              <a:buFont typeface="Wingdings" panose="05000000000000000000" pitchFamily="2" charset="2"/>
              <a:buChar char="p"/>
            </a:pPr>
            <a:r>
              <a:rPr lang="zh-CN" altLang="zh-CN" sz="1800" b="1" kern="100" dirty="0">
                <a:effectLst/>
                <a:latin typeface="+mn-ea"/>
                <a:cs typeface="Times New Roman" panose="02020603050405020304" pitchFamily="18" charset="0"/>
              </a:rPr>
              <a:t>运动机构设计：</a:t>
            </a:r>
            <a:r>
              <a:rPr lang="zh-CN" altLang="zh-CN" sz="1800" kern="100" dirty="0">
                <a:effectLst/>
                <a:latin typeface="+mn-ea"/>
                <a:cs typeface="Times New Roman" panose="02020603050405020304" pitchFamily="18" charset="0"/>
              </a:rPr>
              <a:t>该部分主要需要设计能够实现卫星模型绕地公转与太阳能帆板旋转的运动机构，使得模型能够按照需求进行转动；</a:t>
            </a:r>
          </a:p>
          <a:p>
            <a:pPr marL="342900" lvl="0" indent="-342900" algn="just">
              <a:lnSpc>
                <a:spcPts val="2000"/>
              </a:lnSpc>
              <a:spcBef>
                <a:spcPts val="600"/>
              </a:spcBef>
              <a:spcAft>
                <a:spcPts val="600"/>
              </a:spcAft>
              <a:buFont typeface="Wingdings" panose="05000000000000000000" pitchFamily="2" charset="2"/>
              <a:buChar char="p"/>
            </a:pPr>
            <a:r>
              <a:rPr lang="zh-CN" altLang="zh-CN" sz="1800" b="1" kern="100" dirty="0">
                <a:effectLst/>
                <a:latin typeface="+mn-ea"/>
                <a:cs typeface="Times New Roman" panose="02020603050405020304" pitchFamily="18" charset="0"/>
              </a:rPr>
              <a:t>电器部分设计：</a:t>
            </a:r>
            <a:r>
              <a:rPr lang="zh-CN" altLang="zh-CN" sz="1800" kern="100" dirty="0">
                <a:effectLst/>
                <a:latin typeface="+mn-ea"/>
                <a:cs typeface="Times New Roman" panose="02020603050405020304" pitchFamily="18" charset="0"/>
              </a:rPr>
              <a:t>该部分主要需要设计展品中的电子器件，涉及到硬件的选用及接口、布线等设计；</a:t>
            </a:r>
          </a:p>
          <a:p>
            <a:pPr marL="342900" lvl="0" indent="-342900" algn="just">
              <a:lnSpc>
                <a:spcPts val="2000"/>
              </a:lnSpc>
              <a:spcBef>
                <a:spcPts val="600"/>
              </a:spcBef>
              <a:spcAft>
                <a:spcPts val="600"/>
              </a:spcAft>
              <a:buFont typeface="Wingdings" panose="05000000000000000000" pitchFamily="2" charset="2"/>
              <a:buChar char="p"/>
            </a:pPr>
            <a:r>
              <a:rPr lang="zh-CN" altLang="zh-CN" sz="1800" b="1" kern="100" dirty="0">
                <a:effectLst/>
                <a:latin typeface="+mn-ea"/>
                <a:cs typeface="Times New Roman" panose="02020603050405020304" pitchFamily="18" charset="0"/>
              </a:rPr>
              <a:t>程序部分设计：</a:t>
            </a:r>
            <a:r>
              <a:rPr lang="zh-CN" altLang="zh-CN" sz="1800" kern="100" dirty="0">
                <a:effectLst/>
                <a:latin typeface="+mn-ea"/>
                <a:cs typeface="Times New Roman" panose="02020603050405020304" pitchFamily="18" charset="0"/>
              </a:rPr>
              <a:t>该部分主要需要设计展品的电子器件中需要的软件程序，如执行机构的控制、传感数据的处理等。</a:t>
            </a:r>
          </a:p>
        </p:txBody>
      </p:sp>
      <p:cxnSp>
        <p:nvCxnSpPr>
          <p:cNvPr id="4" name="直接连接符 3">
            <a:extLst>
              <a:ext uri="{FF2B5EF4-FFF2-40B4-BE49-F238E27FC236}">
                <a16:creationId xmlns:a16="http://schemas.microsoft.com/office/drawing/2014/main" id="{DDA74648-78BC-49B0-A7F3-B57F4DA44637}"/>
              </a:ext>
            </a:extLst>
          </p:cNvPr>
          <p:cNvCxnSpPr>
            <a:cxnSpLocks/>
          </p:cNvCxnSpPr>
          <p:nvPr/>
        </p:nvCxnSpPr>
        <p:spPr>
          <a:xfrm>
            <a:off x="5644055" y="1273854"/>
            <a:ext cx="0" cy="5164783"/>
          </a:xfrm>
          <a:prstGeom prst="line">
            <a:avLst/>
          </a:prstGeom>
          <a:ln w="9525">
            <a:solidFill>
              <a:srgbClr val="7F2F69"/>
            </a:solidFill>
          </a:ln>
        </p:spPr>
        <p:style>
          <a:lnRef idx="1">
            <a:schemeClr val="accent1"/>
          </a:lnRef>
          <a:fillRef idx="0">
            <a:schemeClr val="accent1"/>
          </a:fillRef>
          <a:effectRef idx="0">
            <a:schemeClr val="accent1"/>
          </a:effectRef>
          <a:fontRef idx="minor">
            <a:schemeClr val="tx1"/>
          </a:fontRef>
        </p:style>
      </p:cxnSp>
      <p:sp>
        <p:nvSpPr>
          <p:cNvPr id="17" name="文本框 16">
            <a:extLst>
              <a:ext uri="{FF2B5EF4-FFF2-40B4-BE49-F238E27FC236}">
                <a16:creationId xmlns:a16="http://schemas.microsoft.com/office/drawing/2014/main" id="{F588AE5E-C016-4A5D-A3F9-4ADD42E0AB6C}"/>
              </a:ext>
            </a:extLst>
          </p:cNvPr>
          <p:cNvSpPr txBox="1"/>
          <p:nvPr/>
        </p:nvSpPr>
        <p:spPr>
          <a:xfrm>
            <a:off x="5889997" y="1273735"/>
            <a:ext cx="3430576" cy="1738938"/>
          </a:xfrm>
          <a:prstGeom prst="rect">
            <a:avLst/>
          </a:prstGeom>
          <a:noFill/>
        </p:spPr>
        <p:txBody>
          <a:bodyPr wrap="square" rtlCol="0">
            <a:spAutoFit/>
          </a:bodyPr>
          <a:lstStyle/>
          <a:p>
            <a:r>
              <a:rPr lang="zh-CN" altLang="en-US" sz="2800" b="1" dirty="0">
                <a:solidFill>
                  <a:srgbClr val="842B60"/>
                </a:solidFill>
              </a:rPr>
              <a:t>关键指标：</a:t>
            </a:r>
            <a:endParaRPr lang="en-US" altLang="zh-CN" sz="2800" b="1" dirty="0">
              <a:solidFill>
                <a:srgbClr val="842B60"/>
              </a:solidFill>
            </a:endParaRPr>
          </a:p>
          <a:p>
            <a:pPr marL="285750" indent="-285750">
              <a:spcBef>
                <a:spcPts val="600"/>
              </a:spcBef>
              <a:spcAft>
                <a:spcPts val="600"/>
              </a:spcAft>
              <a:buFont typeface="Wingdings" panose="05000000000000000000" pitchFamily="2" charset="2"/>
              <a:buChar char="n"/>
            </a:pPr>
            <a:r>
              <a:rPr lang="zh-CN" altLang="en-US" b="1" dirty="0"/>
              <a:t>卫星星体尺寸：</a:t>
            </a:r>
            <a:endParaRPr lang="en-US" altLang="zh-CN" b="1" dirty="0"/>
          </a:p>
          <a:p>
            <a:pPr marL="285750" indent="-285750">
              <a:spcBef>
                <a:spcPts val="600"/>
              </a:spcBef>
              <a:spcAft>
                <a:spcPts val="600"/>
              </a:spcAft>
              <a:buFont typeface="Wingdings" panose="05000000000000000000" pitchFamily="2" charset="2"/>
              <a:buChar char="n"/>
            </a:pPr>
            <a:r>
              <a:rPr lang="zh-CN" altLang="en-US" b="1" dirty="0"/>
              <a:t>太阳能帆板尺寸：</a:t>
            </a:r>
            <a:endParaRPr lang="en-US" altLang="zh-CN" b="1" dirty="0"/>
          </a:p>
          <a:p>
            <a:pPr marL="285750" indent="-285750">
              <a:spcBef>
                <a:spcPts val="600"/>
              </a:spcBef>
              <a:spcAft>
                <a:spcPts val="600"/>
              </a:spcAft>
              <a:buFont typeface="Wingdings" panose="05000000000000000000" pitchFamily="2" charset="2"/>
              <a:buChar char="n"/>
            </a:pPr>
            <a:r>
              <a:rPr lang="zh-CN" altLang="en-US" b="1" dirty="0"/>
              <a:t>公转轨道半径：</a:t>
            </a:r>
            <a:endParaRPr lang="en-US" altLang="zh-CN" b="1" dirty="0"/>
          </a:p>
        </p:txBody>
      </p:sp>
      <p:sp>
        <p:nvSpPr>
          <p:cNvPr id="23" name="文本框 22">
            <a:extLst>
              <a:ext uri="{FF2B5EF4-FFF2-40B4-BE49-F238E27FC236}">
                <a16:creationId xmlns:a16="http://schemas.microsoft.com/office/drawing/2014/main" id="{CE01B91D-C061-4DF9-8489-8D45652AE37E}"/>
              </a:ext>
            </a:extLst>
          </p:cNvPr>
          <p:cNvSpPr txBox="1"/>
          <p:nvPr/>
        </p:nvSpPr>
        <p:spPr>
          <a:xfrm>
            <a:off x="5889997" y="3634878"/>
            <a:ext cx="5606218" cy="1677382"/>
          </a:xfrm>
          <a:prstGeom prst="rect">
            <a:avLst/>
          </a:prstGeom>
          <a:noFill/>
        </p:spPr>
        <p:txBody>
          <a:bodyPr wrap="square" rtlCol="0">
            <a:spAutoFit/>
          </a:bodyPr>
          <a:lstStyle/>
          <a:p>
            <a:r>
              <a:rPr lang="zh-CN" altLang="en-US" sz="2800" b="1" dirty="0">
                <a:solidFill>
                  <a:srgbClr val="842B60"/>
                </a:solidFill>
              </a:rPr>
              <a:t>验收标准：</a:t>
            </a:r>
            <a:endParaRPr lang="en-US" altLang="zh-CN" sz="2800" b="1" dirty="0">
              <a:solidFill>
                <a:srgbClr val="842B60"/>
              </a:solidFill>
            </a:endParaRPr>
          </a:p>
          <a:p>
            <a:pPr marL="342900" lvl="0" indent="-342900" algn="just">
              <a:lnSpc>
                <a:spcPts val="2000"/>
              </a:lnSpc>
              <a:spcBef>
                <a:spcPts val="600"/>
              </a:spcBef>
              <a:spcAft>
                <a:spcPts val="600"/>
              </a:spcAft>
              <a:buFont typeface="Wingdings" panose="05000000000000000000" pitchFamily="2" charset="2"/>
              <a:buChar char="n"/>
            </a:pPr>
            <a:r>
              <a:rPr lang="zh-CN" altLang="zh-CN" sz="1800" kern="100" dirty="0">
                <a:effectLst/>
                <a:latin typeface="+mn-ea"/>
                <a:cs typeface="Times New Roman" panose="02020603050405020304" pitchFamily="18" charset="0"/>
              </a:rPr>
              <a:t>能够正确、完整地完成展示流程的各个环节</a:t>
            </a:r>
          </a:p>
          <a:p>
            <a:pPr marL="342900" lvl="0" indent="-342900" algn="just">
              <a:lnSpc>
                <a:spcPts val="2000"/>
              </a:lnSpc>
              <a:spcBef>
                <a:spcPts val="600"/>
              </a:spcBef>
              <a:spcAft>
                <a:spcPts val="600"/>
              </a:spcAft>
              <a:buFont typeface="Wingdings" panose="05000000000000000000" pitchFamily="2" charset="2"/>
              <a:buChar char="n"/>
            </a:pPr>
            <a:r>
              <a:rPr lang="zh-CN" altLang="zh-CN" sz="1800" kern="100" dirty="0">
                <a:effectLst/>
                <a:latin typeface="+mn-ea"/>
                <a:cs typeface="Times New Roman" panose="02020603050405020304" pitchFamily="18" charset="0"/>
              </a:rPr>
              <a:t>观众手动调节环节响应速度快，且反馈快速准确</a:t>
            </a:r>
          </a:p>
          <a:p>
            <a:pPr marL="342900" lvl="0" indent="-342900" algn="just">
              <a:lnSpc>
                <a:spcPts val="2000"/>
              </a:lnSpc>
              <a:spcBef>
                <a:spcPts val="600"/>
              </a:spcBef>
              <a:spcAft>
                <a:spcPts val="600"/>
              </a:spcAft>
              <a:buFont typeface="Wingdings" panose="05000000000000000000" pitchFamily="2" charset="2"/>
              <a:buChar char="n"/>
            </a:pPr>
            <a:r>
              <a:rPr lang="zh-CN" altLang="zh-CN" sz="1800" kern="100" dirty="0">
                <a:effectLst/>
                <a:latin typeface="+mn-ea"/>
                <a:cs typeface="Times New Roman" panose="02020603050405020304" pitchFamily="18" charset="0"/>
              </a:rPr>
              <a:t>具备较高的安全性与可靠性</a:t>
            </a:r>
          </a:p>
        </p:txBody>
      </p:sp>
      <p:sp>
        <p:nvSpPr>
          <p:cNvPr id="18" name="Rectangle 11">
            <a:extLst>
              <a:ext uri="{FF2B5EF4-FFF2-40B4-BE49-F238E27FC236}">
                <a16:creationId xmlns:a16="http://schemas.microsoft.com/office/drawing/2014/main" id="{232CB9C5-4A2E-4727-ABB6-79C86C1CDA07}"/>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19" name="对象 18">
            <a:extLst>
              <a:ext uri="{FF2B5EF4-FFF2-40B4-BE49-F238E27FC236}">
                <a16:creationId xmlns:a16="http://schemas.microsoft.com/office/drawing/2014/main" id="{D907FFAC-D336-4439-9BD9-32A806894790}"/>
              </a:ext>
            </a:extLst>
          </p:cNvPr>
          <p:cNvGraphicFramePr>
            <a:graphicFrameLocks noChangeAspect="1"/>
          </p:cNvGraphicFramePr>
          <p:nvPr>
            <p:extLst>
              <p:ext uri="{D42A27DB-BD31-4B8C-83A1-F6EECF244321}">
                <p14:modId xmlns:p14="http://schemas.microsoft.com/office/powerpoint/2010/main" val="1385046486"/>
              </p:ext>
            </p:extLst>
          </p:nvPr>
        </p:nvGraphicFramePr>
        <p:xfrm>
          <a:off x="8652114" y="1799546"/>
          <a:ext cx="2614613" cy="293688"/>
        </p:xfrm>
        <a:graphic>
          <a:graphicData uri="http://schemas.openxmlformats.org/presentationml/2006/ole">
            <mc:AlternateContent xmlns:mc="http://schemas.openxmlformats.org/markup-compatibility/2006">
              <mc:Choice xmlns:v="urn:schemas-microsoft-com:vml" Requires="v">
                <p:oleObj spid="_x0000_s3163" r:id="rId6" imgW="1586811" imgH="177723" progId="Equation.DSMT4">
                  <p:embed/>
                </p:oleObj>
              </mc:Choice>
              <mc:Fallback>
                <p:oleObj r:id="rId6" imgW="1586811" imgH="177723" progId="Equation.DSMT4">
                  <p:embed/>
                  <p:pic>
                    <p:nvPicPr>
                      <p:cNvPr id="0" name="Object 1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52114" y="1799546"/>
                        <a:ext cx="2614613" cy="293688"/>
                      </a:xfrm>
                      <a:prstGeom prst="rect">
                        <a:avLst/>
                      </a:prstGeom>
                      <a:noFill/>
                    </p:spPr>
                  </p:pic>
                </p:oleObj>
              </mc:Fallback>
            </mc:AlternateContent>
          </a:graphicData>
        </a:graphic>
      </p:graphicFrame>
      <p:sp>
        <p:nvSpPr>
          <p:cNvPr id="20" name="Rectangle 13">
            <a:extLst>
              <a:ext uri="{FF2B5EF4-FFF2-40B4-BE49-F238E27FC236}">
                <a16:creationId xmlns:a16="http://schemas.microsoft.com/office/drawing/2014/main" id="{C136ADDA-18EE-4F98-8EF8-2250E78E97E1}"/>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21" name="对象 20">
            <a:extLst>
              <a:ext uri="{FF2B5EF4-FFF2-40B4-BE49-F238E27FC236}">
                <a16:creationId xmlns:a16="http://schemas.microsoft.com/office/drawing/2014/main" id="{6C84A637-4580-4336-8776-6E6BA9956363}"/>
              </a:ext>
            </a:extLst>
          </p:cNvPr>
          <p:cNvGraphicFramePr>
            <a:graphicFrameLocks noChangeAspect="1"/>
          </p:cNvGraphicFramePr>
          <p:nvPr>
            <p:extLst>
              <p:ext uri="{D42A27DB-BD31-4B8C-83A1-F6EECF244321}">
                <p14:modId xmlns:p14="http://schemas.microsoft.com/office/powerpoint/2010/main" val="56328262"/>
              </p:ext>
            </p:extLst>
          </p:nvPr>
        </p:nvGraphicFramePr>
        <p:xfrm>
          <a:off x="8652114" y="2248780"/>
          <a:ext cx="1627085" cy="274448"/>
        </p:xfrm>
        <a:graphic>
          <a:graphicData uri="http://schemas.openxmlformats.org/presentationml/2006/ole">
            <mc:AlternateContent xmlns:mc="http://schemas.openxmlformats.org/markup-compatibility/2006">
              <mc:Choice xmlns:v="urn:schemas-microsoft-com:vml" Requires="v">
                <p:oleObj spid="_x0000_s3164" r:id="rId8" imgW="1053643" imgH="177723" progId="Equation.DSMT4">
                  <p:embed/>
                </p:oleObj>
              </mc:Choice>
              <mc:Fallback>
                <p:oleObj r:id="rId8" imgW="1053643" imgH="177723" progId="Equation.DSMT4">
                  <p:embed/>
                  <p:pic>
                    <p:nvPicPr>
                      <p:cNvPr id="0" name="Object 1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52114" y="2248780"/>
                        <a:ext cx="1627085" cy="274448"/>
                      </a:xfrm>
                      <a:prstGeom prst="rect">
                        <a:avLst/>
                      </a:prstGeom>
                      <a:noFill/>
                    </p:spPr>
                  </p:pic>
                </p:oleObj>
              </mc:Fallback>
            </mc:AlternateContent>
          </a:graphicData>
        </a:graphic>
      </p:graphicFrame>
      <p:sp>
        <p:nvSpPr>
          <p:cNvPr id="22" name="Rectangle 15">
            <a:extLst>
              <a:ext uri="{FF2B5EF4-FFF2-40B4-BE49-F238E27FC236}">
                <a16:creationId xmlns:a16="http://schemas.microsoft.com/office/drawing/2014/main" id="{F91CEDD2-ADDD-4B1D-8C34-44707F2BFDD6}"/>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24" name="对象 23">
            <a:extLst>
              <a:ext uri="{FF2B5EF4-FFF2-40B4-BE49-F238E27FC236}">
                <a16:creationId xmlns:a16="http://schemas.microsoft.com/office/drawing/2014/main" id="{A1655F51-2F80-493D-8B50-7D2229B01CA0}"/>
              </a:ext>
            </a:extLst>
          </p:cNvPr>
          <p:cNvGraphicFramePr>
            <a:graphicFrameLocks noChangeAspect="1"/>
          </p:cNvGraphicFramePr>
          <p:nvPr>
            <p:extLst>
              <p:ext uri="{D42A27DB-BD31-4B8C-83A1-F6EECF244321}">
                <p14:modId xmlns:p14="http://schemas.microsoft.com/office/powerpoint/2010/main" val="1917628690"/>
              </p:ext>
            </p:extLst>
          </p:nvPr>
        </p:nvGraphicFramePr>
        <p:xfrm>
          <a:off x="8652114" y="2678774"/>
          <a:ext cx="764534" cy="274448"/>
        </p:xfrm>
        <a:graphic>
          <a:graphicData uri="http://schemas.openxmlformats.org/presentationml/2006/ole">
            <mc:AlternateContent xmlns:mc="http://schemas.openxmlformats.org/markup-compatibility/2006">
              <mc:Choice xmlns:v="urn:schemas-microsoft-com:vml" Requires="v">
                <p:oleObj spid="_x0000_s3165" r:id="rId10" imgW="494870" imgH="177646" progId="Equation.DSMT4">
                  <p:embed/>
                </p:oleObj>
              </mc:Choice>
              <mc:Fallback>
                <p:oleObj r:id="rId10" imgW="494870" imgH="177646" progId="Equation.DSMT4">
                  <p:embed/>
                  <p:pic>
                    <p:nvPicPr>
                      <p:cNvPr id="0" name="Object 1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652114" y="2678774"/>
                        <a:ext cx="764534" cy="274448"/>
                      </a:xfrm>
                      <a:prstGeom prst="rect">
                        <a:avLst/>
                      </a:prstGeom>
                      <a:noFill/>
                    </p:spPr>
                  </p:pic>
                </p:oleObj>
              </mc:Fallback>
            </mc:AlternateContent>
          </a:graphicData>
        </a:graphic>
      </p:graphicFrame>
      <p:sp>
        <p:nvSpPr>
          <p:cNvPr id="26" name="灯片编号占位符 25">
            <a:extLst>
              <a:ext uri="{FF2B5EF4-FFF2-40B4-BE49-F238E27FC236}">
                <a16:creationId xmlns:a16="http://schemas.microsoft.com/office/drawing/2014/main" id="{83EF3FD1-A5C1-4446-B9A9-8F8CA5827EF3}"/>
              </a:ext>
            </a:extLst>
          </p:cNvPr>
          <p:cNvSpPr>
            <a:spLocks noGrp="1"/>
          </p:cNvSpPr>
          <p:nvPr>
            <p:ph type="sldNum" sz="quarter" idx="12"/>
          </p:nvPr>
        </p:nvSpPr>
        <p:spPr/>
        <p:txBody>
          <a:bodyPr/>
          <a:lstStyle/>
          <a:p>
            <a:fld id="{565CE74E-AB26-4998-AD42-012C4C1AD076}" type="slidenum">
              <a:rPr lang="zh-CN" altLang="en-US" smtClean="0"/>
              <a:t>9</a:t>
            </a:fld>
            <a:endParaRPr lang="zh-CN" altLang="en-US"/>
          </a:p>
        </p:txBody>
      </p:sp>
    </p:spTree>
    <p:extLst>
      <p:ext uri="{BB962C8B-B14F-4D97-AF65-F5344CB8AC3E}">
        <p14:creationId xmlns:p14="http://schemas.microsoft.com/office/powerpoint/2010/main" val="2545700807"/>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0-#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P spid="17" grpId="0"/>
      <p:bldP spid="2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IMING" val="|0.7|0.6|0.5|1"/>
</p:tagLst>
</file>

<file path=ppt/tags/tag4.xml><?xml version="1.0" encoding="utf-8"?>
<p:tagLst xmlns:a="http://schemas.openxmlformats.org/drawingml/2006/main" xmlns:r="http://schemas.openxmlformats.org/officeDocument/2006/relationships" xmlns:p="http://schemas.openxmlformats.org/presentationml/2006/main">
  <p:tag name="TIMING" val="|0.5|0.5|0.4"/>
</p:tagLst>
</file>

<file path=ppt/tags/tag5.xml><?xml version="1.0" encoding="utf-8"?>
<p:tagLst xmlns:a="http://schemas.openxmlformats.org/drawingml/2006/main" xmlns:r="http://schemas.openxmlformats.org/officeDocument/2006/relationships" xmlns:p="http://schemas.openxmlformats.org/presentationml/2006/main">
  <p:tag name="TIMING" val="|0.4|0.3|0.3|0.4"/>
</p:tagLst>
</file>

<file path=ppt/tags/tag6.xml><?xml version="1.0" encoding="utf-8"?>
<p:tagLst xmlns:a="http://schemas.openxmlformats.org/drawingml/2006/main" xmlns:r="http://schemas.openxmlformats.org/officeDocument/2006/relationships" xmlns:p="http://schemas.openxmlformats.org/presentationml/2006/main">
  <p:tag name="TIMING" val="|0.4|0.3|0.3|0.4"/>
</p:tagLst>
</file>

<file path=ppt/tags/tag7.xml><?xml version="1.0" encoding="utf-8"?>
<p:tagLst xmlns:a="http://schemas.openxmlformats.org/drawingml/2006/main" xmlns:r="http://schemas.openxmlformats.org/officeDocument/2006/relationships" xmlns:p="http://schemas.openxmlformats.org/presentationml/2006/main">
  <p:tag name="TIMING" val="|0.4|0.3|0.3|0.4"/>
</p:tagLst>
</file>

<file path=ppt/tags/tag8.xml><?xml version="1.0" encoding="utf-8"?>
<p:tagLst xmlns:a="http://schemas.openxmlformats.org/drawingml/2006/main" xmlns:r="http://schemas.openxmlformats.org/officeDocument/2006/relationships" xmlns:p="http://schemas.openxmlformats.org/presentationml/2006/main">
  <p:tag name="TIMING" val="|0.4|0.3|0.3|0.4"/>
</p:tagLst>
</file>

<file path=ppt/tags/tag9.xml><?xml version="1.0" encoding="utf-8"?>
<p:tagLst xmlns:a="http://schemas.openxmlformats.org/drawingml/2006/main" xmlns:r="http://schemas.openxmlformats.org/officeDocument/2006/relationships" xmlns:p="http://schemas.openxmlformats.org/presentationml/2006/main">
  <p:tag name="TIMING" val="|0.7|0.6|0.5|1"/>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PPO+Helve">
      <a:majorFont>
        <a:latin typeface="等线 Light"/>
        <a:ea typeface="等线 Light"/>
        <a:cs typeface=""/>
      </a:majorFont>
      <a:minorFont>
        <a:latin typeface="HelveticaExt-Normal"/>
        <a:ea typeface="OPPOSans B"/>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PPO+Helve">
      <a:majorFont>
        <a:latin typeface="等线 Light"/>
        <a:ea typeface="等线 Light"/>
        <a:cs typeface=""/>
      </a:majorFont>
      <a:minorFont>
        <a:latin typeface="HelveticaExt-Normal"/>
        <a:ea typeface="OPPOSans B"/>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PPO+Helve">
      <a:majorFont>
        <a:latin typeface="等线 Light"/>
        <a:ea typeface="等线 Light"/>
        <a:cs typeface=""/>
      </a:majorFont>
      <a:minorFont>
        <a:latin typeface="HelveticaExt-Normal"/>
        <a:ea typeface="OPPOSans B"/>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PPO+Helve">
      <a:majorFont>
        <a:latin typeface="等线 Light"/>
        <a:ea typeface="等线 Light"/>
        <a:cs typeface=""/>
      </a:majorFont>
      <a:minorFont>
        <a:latin typeface="HelveticaExt-Normal"/>
        <a:ea typeface="OPPOSans B"/>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PPO+Helve">
      <a:majorFont>
        <a:latin typeface="等线 Light"/>
        <a:ea typeface="等线 Light"/>
        <a:cs typeface=""/>
      </a:majorFont>
      <a:minorFont>
        <a:latin typeface="HelveticaExt-Normal"/>
        <a:ea typeface="OPPOSans B"/>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微软雅黑"/>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微软雅黑"/>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2</TotalTime>
  <Words>1810</Words>
  <Application>Microsoft Office PowerPoint</Application>
  <PresentationFormat>宽屏</PresentationFormat>
  <Paragraphs>265</Paragraphs>
  <Slides>26</Slides>
  <Notes>2</Notes>
  <HiddenSlides>0</HiddenSlides>
  <MMClips>0</MMClips>
  <ScaleCrop>false</ScaleCrop>
  <HeadingPairs>
    <vt:vector size="8" baseType="variant">
      <vt:variant>
        <vt:lpstr>已用的字体</vt:lpstr>
      </vt:variant>
      <vt:variant>
        <vt:i4>12</vt:i4>
      </vt:variant>
      <vt:variant>
        <vt:lpstr>主题</vt:lpstr>
      </vt:variant>
      <vt:variant>
        <vt:i4>8</vt:i4>
      </vt:variant>
      <vt:variant>
        <vt:lpstr>嵌入 OLE 服务器</vt:lpstr>
      </vt:variant>
      <vt:variant>
        <vt:i4>2</vt:i4>
      </vt:variant>
      <vt:variant>
        <vt:lpstr>幻灯片标题</vt:lpstr>
      </vt:variant>
      <vt:variant>
        <vt:i4>26</vt:i4>
      </vt:variant>
    </vt:vector>
  </HeadingPairs>
  <TitlesOfParts>
    <vt:vector size="48" baseType="lpstr">
      <vt:lpstr>HelveticaExt-Normal</vt:lpstr>
      <vt:lpstr>等线</vt:lpstr>
      <vt:lpstr>等线 Light</vt:lpstr>
      <vt:lpstr>黑体</vt:lpstr>
      <vt:lpstr>思源黑体 CN Bold</vt:lpstr>
      <vt:lpstr>思源黑体 CN Light</vt:lpstr>
      <vt:lpstr>思源黑体 CN Medium</vt:lpstr>
      <vt:lpstr>微软雅黑</vt:lpstr>
      <vt:lpstr>Arial</vt:lpstr>
      <vt:lpstr>Calibri</vt:lpstr>
      <vt:lpstr>Times New Roman</vt:lpstr>
      <vt:lpstr>Wingdings</vt:lpstr>
      <vt:lpstr>Office 主题​​</vt:lpstr>
      <vt:lpstr>自定义设计方案</vt:lpstr>
      <vt:lpstr>1_自定义设计方案</vt:lpstr>
      <vt:lpstr>2_自定义设计方案</vt:lpstr>
      <vt:lpstr>3_自定义设计方案</vt:lpstr>
      <vt:lpstr>Office 主题</vt:lpstr>
      <vt:lpstr>4_自定义设计方案</vt:lpstr>
      <vt:lpstr>1_Office 主题</vt:lpstr>
      <vt:lpstr>think-cell 幻灯片</vt:lpstr>
      <vt:lpstr>Equation.DSMT4</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Simon</cp:lastModifiedBy>
  <cp:revision>96</cp:revision>
  <dcterms:created xsi:type="dcterms:W3CDTF">2020-09-04T08:27:00Z</dcterms:created>
  <dcterms:modified xsi:type="dcterms:W3CDTF">2024-06-07T13:42: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056C22ADB3234095AB7D7D3D2F4D75F3</vt:lpwstr>
  </property>
  <property fmtid="{D5CDD505-2E9C-101B-9397-08002B2CF9AE}" pid="3" name="KSOProductBuildVer">
    <vt:lpwstr>2052-11.1.0.10667</vt:lpwstr>
  </property>
</Properties>
</file>